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comments/modernComment_7BBF5833_E855211E.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BBF582C_7916BD30.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comments/modernComment_7BBF56CE_FAE02A9C.xml" ContentType="application/vnd.ms-powerpoint.comments+xml"/>
  <Override PartName="/ppt/notesSlides/notesSlide10.xml" ContentType="application/vnd.openxmlformats-officedocument.presentationml.notesSlide+xml"/>
  <Override PartName="/ppt/comments/modernComment_7BBF5832_72B077DC.xml" ContentType="application/vnd.ms-powerpoint.comments+xml"/>
  <Override PartName="/ppt/tags/tag2.xml" ContentType="application/vnd.openxmlformats-officedocument.presentationml.tags+xml"/>
  <Override PartName="/ppt/notesSlides/notesSlide11.xml" ContentType="application/vnd.openxmlformats-officedocument.presentationml.notesSlide+xml"/>
  <Override PartName="/ppt/comments/modernComment_7BBF5831_90A4E7C0.xml" ContentType="application/vnd.ms-powerpoint.comments+xml"/>
  <Override PartName="/ppt/notesSlides/notesSlide12.xml" ContentType="application/vnd.openxmlformats-officedocument.presentationml.notesSlide+xml"/>
  <Override PartName="/ppt/comments/modernComment_7BBF555C_1D4579CB.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2"/>
  </p:notesMasterIdLst>
  <p:sldIdLst>
    <p:sldId id="2076137761" r:id="rId10"/>
    <p:sldId id="2076137772" r:id="rId11"/>
    <p:sldId id="207613776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7769" r:id="rId27"/>
    <p:sldId id="2076137513" r:id="rId28"/>
    <p:sldId id="2076136795" r:id="rId29"/>
    <p:sldId id="2076136799" r:id="rId30"/>
    <p:sldId id="207613753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030A0"/>
    <a:srgbClr val="B797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93719" autoAdjust="0"/>
  </p:normalViewPr>
  <p:slideViewPr>
    <p:cSldViewPr snapToGrid="0">
      <p:cViewPr varScale="1">
        <p:scale>
          <a:sx n="80" d="100"/>
          <a:sy n="80" d="100"/>
        </p:scale>
        <p:origin x="72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noFill/>
        </a:ln>
      </dgm:spPr>
      <dgm:t>
        <a:bodyPr/>
        <a:lstStyle/>
        <a:p>
          <a:r>
            <a:rPr lang="en-AU" sz="1100" dirty="0"/>
            <a:t>Day 1 – Part I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1 – Part II</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9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2– Part I</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2– Part II</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chemeClr val="bg1">
              <a:lumMod val="65000"/>
            </a:schemeClr>
          </a:solidFill>
        </a:ln>
      </dgm:spPr>
      <dgm:t>
        <a:bodyPr/>
        <a:lstStyle/>
        <a:p>
          <a:r>
            <a:rPr lang="en-AU" sz="1100" dirty="0"/>
            <a:t>Day 3– Part I</a:t>
          </a:r>
        </a:p>
        <a:p>
          <a:r>
            <a:rPr lang="en-US" sz="1100" dirty="0"/>
            <a:t>Power Packed Day with Power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DC1AB3C9-E76A-4172-85C2-F2254809A15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C5D9562B-6B57-4AC9-BF23-4DE294D9CCC0}" type="parTrans" cxnId="{F9C9F39C-7EC0-43C6-9FB2-54FA2A754ED4}">
      <dgm:prSet/>
      <dgm:spPr/>
      <dgm:t>
        <a:bodyPr/>
        <a:lstStyle/>
        <a:p>
          <a:endParaRPr lang="en-GB"/>
        </a:p>
      </dgm:t>
    </dgm:pt>
    <dgm:pt modelId="{166C141F-AA0E-4C97-B1EA-A06F2DE1C2CA}" type="sibTrans" cxnId="{F9C9F39C-7EC0-43C6-9FB2-54FA2A754ED4}">
      <dgm:prSet/>
      <dgm:spPr/>
      <dgm:t>
        <a:bodyPr/>
        <a:lstStyle/>
        <a:p>
          <a:endParaRPr lang="en-GB"/>
        </a:p>
      </dgm:t>
    </dgm:pt>
    <dgm:pt modelId="{6F7084A3-F6F4-4055-8404-3AB7D7F43B45}">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FB834508-C913-4467-8009-DCEB15E722F0}" type="parTrans" cxnId="{EBA58CA9-A3CE-412F-9474-7EAFF04D075A}">
      <dgm:prSet/>
      <dgm:spPr/>
      <dgm:t>
        <a:bodyPr/>
        <a:lstStyle/>
        <a:p>
          <a:endParaRPr lang="en-GB"/>
        </a:p>
      </dgm:t>
    </dgm:pt>
    <dgm:pt modelId="{06B3AF3A-C83F-448F-BA86-3585D21C19DD}" type="sibTrans" cxnId="{EBA58CA9-A3CE-412F-9474-7EAFF04D075A}">
      <dgm:prSet/>
      <dgm:spPr/>
      <dgm:t>
        <a:bodyPr/>
        <a:lstStyle/>
        <a:p>
          <a:endParaRPr lang="en-GB"/>
        </a:p>
      </dgm:t>
    </dgm:pt>
    <dgm:pt modelId="{733AC198-8C9A-4B42-9E53-02CEB15F3C9F}">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0608B9E6-3495-41C4-8CB6-E742C70D3BD5}" type="parTrans" cxnId="{71F5C5CE-76D8-4EC7-A21E-453AF89BD604}">
      <dgm:prSet/>
      <dgm:spPr/>
      <dgm:t>
        <a:bodyPr/>
        <a:lstStyle/>
        <a:p>
          <a:endParaRPr lang="en-GB"/>
        </a:p>
      </dgm:t>
    </dgm:pt>
    <dgm:pt modelId="{4C7AF5B8-74FC-4ECC-8F44-8EC6EDA79510}" type="sibTrans" cxnId="{71F5C5CE-76D8-4EC7-A21E-453AF89BD604}">
      <dgm:prSet/>
      <dgm:spPr/>
      <dgm:t>
        <a:bodyPr/>
        <a:lstStyle/>
        <a:p>
          <a:endParaRPr lang="en-GB"/>
        </a:p>
      </dgm:t>
    </dgm:pt>
    <dgm:pt modelId="{DDB2D429-A54B-474B-9DCF-A0E6B52D46DA}">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B3BE7EFD-D6E0-4FFE-9245-9412FF200740}" type="parTrans" cxnId="{CE4D4D1E-7755-456F-BC4E-8D9B3E3BB04A}">
      <dgm:prSet/>
      <dgm:spPr/>
      <dgm:t>
        <a:bodyPr/>
        <a:lstStyle/>
        <a:p>
          <a:endParaRPr lang="en-GB"/>
        </a:p>
      </dgm:t>
    </dgm:pt>
    <dgm:pt modelId="{08ECC846-92B0-466D-8FBC-C4D6AC294A79}" type="sibTrans" cxnId="{CE4D4D1E-7755-456F-BC4E-8D9B3E3BB04A}">
      <dgm:prSet/>
      <dgm:spPr/>
      <dgm:t>
        <a:bodyPr/>
        <a:lstStyle/>
        <a:p>
          <a:endParaRPr lang="en-GB"/>
        </a:p>
      </dgm:t>
    </dgm:pt>
    <dgm:pt modelId="{CD46F9DC-3097-44BC-84D4-73B85CEB5AD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F5D89BF0-17D8-44A5-BA06-5DED91DD8CC8}" type="parTrans" cxnId="{AF7BF292-2C27-461D-853B-8C4CA561F6AD}">
      <dgm:prSet/>
      <dgm:spPr/>
      <dgm:t>
        <a:bodyPr/>
        <a:lstStyle/>
        <a:p>
          <a:endParaRPr lang="en-GB"/>
        </a:p>
      </dgm:t>
    </dgm:pt>
    <dgm:pt modelId="{49003F09-2FDB-479F-BDDC-77A41BFD5C88}" type="sibTrans" cxnId="{AF7BF292-2C27-461D-853B-8C4CA561F6AD}">
      <dgm:prSet/>
      <dgm:spPr/>
      <dgm:t>
        <a:bodyPr/>
        <a:lstStyle/>
        <a:p>
          <a:endParaRPr lang="en-GB"/>
        </a:p>
      </dgm:t>
    </dgm:pt>
    <dgm:pt modelId="{893E7C06-D653-47A6-AE1C-68D245AF3E64}">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3933C5AD-E0BA-4B92-AAA9-061A899CA552}" type="parTrans" cxnId="{B5363AA6-367E-4352-9210-91B6613AEB54}">
      <dgm:prSet/>
      <dgm:spPr/>
      <dgm:t>
        <a:bodyPr/>
        <a:lstStyle/>
        <a:p>
          <a:endParaRPr lang="en-GB"/>
        </a:p>
      </dgm:t>
    </dgm:pt>
    <dgm:pt modelId="{2CB8B4CF-883F-4D1D-926C-DAE94DA4D2AC}" type="sibTrans" cxnId="{B5363AA6-367E-4352-9210-91B6613AEB54}">
      <dgm:prSet/>
      <dgm:spPr/>
      <dgm:t>
        <a:bodyPr/>
        <a:lstStyle/>
        <a:p>
          <a:endParaRPr lang="en-GB"/>
        </a:p>
      </dgm:t>
    </dgm:pt>
    <dgm:pt modelId="{54C72AF5-701B-4378-8525-F1DF460F34ED}">
      <dgm:prSet custT="1"/>
      <dgm:spPr/>
      <dgm:t>
        <a:bodyPr/>
        <a:lstStyle/>
        <a:p>
          <a:pPr>
            <a:lnSpc>
              <a:spcPct val="150000"/>
            </a:lnSpc>
            <a:buFont typeface="Wingdings" panose="05000000000000000000" pitchFamily="2" charset="2"/>
            <a:buChar char="ü"/>
          </a:pPr>
          <a:r>
            <a:rPr lang="en-GB" sz="1100" dirty="0"/>
            <a:t>Types of Data</a:t>
          </a:r>
        </a:p>
      </dgm:t>
    </dgm:pt>
    <dgm:pt modelId="{5D5C2022-D69D-486A-9984-619FA0DA17BE}" type="parTrans" cxnId="{A9AB27D9-AB37-4556-8F6E-CCDE59F2CF86}">
      <dgm:prSet/>
      <dgm:spPr/>
      <dgm:t>
        <a:bodyPr/>
        <a:lstStyle/>
        <a:p>
          <a:endParaRPr lang="en-GB"/>
        </a:p>
      </dgm:t>
    </dgm:pt>
    <dgm:pt modelId="{8D515924-C436-4473-8074-31B0016C1AC1}" type="sibTrans" cxnId="{A9AB27D9-AB37-4556-8F6E-CCDE59F2CF86}">
      <dgm:prSet/>
      <dgm:spPr/>
      <dgm:t>
        <a:bodyPr/>
        <a:lstStyle/>
        <a:p>
          <a:endParaRPr lang="en-GB"/>
        </a:p>
      </dgm:t>
    </dgm:pt>
    <dgm:pt modelId="{3A49676A-F985-4612-8E3F-B09E7F5953A5}">
      <dgm:prSet custT="1"/>
      <dgm:spPr/>
      <dgm:t>
        <a:bodyPr/>
        <a:lstStyle/>
        <a:p>
          <a:pPr>
            <a:lnSpc>
              <a:spcPct val="150000"/>
            </a:lnSpc>
            <a:buFont typeface="Wingdings" panose="05000000000000000000" pitchFamily="2" charset="2"/>
            <a:buChar char="ü"/>
          </a:pPr>
          <a:r>
            <a:rPr lang="en-GB" sz="1100" dirty="0"/>
            <a:t>Common Data Service</a:t>
          </a:r>
        </a:p>
      </dgm:t>
    </dgm:pt>
    <dgm:pt modelId="{373F37CE-C981-4F7A-B1CC-0C2867E61ADA}" type="parTrans" cxnId="{1A79C8F4-053A-42E7-9A59-549B72D27189}">
      <dgm:prSet/>
      <dgm:spPr/>
      <dgm:t>
        <a:bodyPr/>
        <a:lstStyle/>
        <a:p>
          <a:endParaRPr lang="en-GB"/>
        </a:p>
      </dgm:t>
    </dgm:pt>
    <dgm:pt modelId="{0F4E1333-36B3-49FC-BCE9-7962A7ABD1D4}" type="sibTrans" cxnId="{1A79C8F4-053A-42E7-9A59-549B72D27189}">
      <dgm:prSet/>
      <dgm:spPr/>
      <dgm:t>
        <a:bodyPr/>
        <a:lstStyle/>
        <a:p>
          <a:endParaRPr lang="en-GB"/>
        </a:p>
      </dgm:t>
    </dgm:pt>
    <dgm:pt modelId="{7A35B426-1F7B-470E-83C9-8B734CBF59CF}">
      <dgm:prSet custT="1"/>
      <dgm:spPr/>
      <dgm:t>
        <a:bodyPr/>
        <a:lstStyle/>
        <a:p>
          <a:pPr>
            <a:lnSpc>
              <a:spcPct val="150000"/>
            </a:lnSpc>
            <a:buFont typeface="Wingdings" panose="05000000000000000000" pitchFamily="2" charset="2"/>
            <a:buChar char="ü"/>
          </a:pPr>
          <a:r>
            <a:rPr lang="en-GB" sz="1100" dirty="0"/>
            <a:t>Model-driven Apps</a:t>
          </a:r>
        </a:p>
      </dgm:t>
    </dgm:pt>
    <dgm:pt modelId="{4D6F01C8-1B7B-4631-8135-A5886B2B0D75}" type="parTrans" cxnId="{BFCC3057-757D-408F-B91D-CED24E8925F4}">
      <dgm:prSet/>
      <dgm:spPr/>
      <dgm:t>
        <a:bodyPr/>
        <a:lstStyle/>
        <a:p>
          <a:endParaRPr lang="en-GB"/>
        </a:p>
      </dgm:t>
    </dgm:pt>
    <dgm:pt modelId="{C1D13965-F077-4D0D-AF66-F16ABF1EB9AC}" type="sibTrans" cxnId="{BFCC3057-757D-408F-B91D-CED24E8925F4}">
      <dgm:prSet/>
      <dgm:spPr/>
      <dgm:t>
        <a:bodyPr/>
        <a:lstStyle/>
        <a:p>
          <a:endParaRPr lang="en-GB"/>
        </a:p>
      </dgm:t>
    </dgm:pt>
    <dgm:pt modelId="{0F8B0C98-A74B-4E44-B92F-2CAB105C195E}">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75ADCC08-01ED-4D06-A1CC-F0123111E0EE}" type="parTrans" cxnId="{E2FE5168-614E-4332-9434-C2A45F9788E4}">
      <dgm:prSet/>
      <dgm:spPr/>
      <dgm:t>
        <a:bodyPr/>
        <a:lstStyle/>
        <a:p>
          <a:endParaRPr lang="en-GB"/>
        </a:p>
      </dgm:t>
    </dgm:pt>
    <dgm:pt modelId="{5D083F13-5804-4978-8269-5CEC2CDF2CEE}" type="sibTrans" cxnId="{E2FE5168-614E-4332-9434-C2A45F9788E4}">
      <dgm:prSet/>
      <dgm:spPr/>
      <dgm:t>
        <a:bodyPr/>
        <a:lstStyle/>
        <a:p>
          <a:endParaRPr lang="en-GB"/>
        </a:p>
      </dgm:t>
    </dgm:pt>
    <dgm:pt modelId="{ACC56B55-B54D-4F97-A978-D694743ADE3E}">
      <dgm:prSet custT="1"/>
      <dgm:spPr/>
      <dgm:t>
        <a:bodyPr/>
        <a:lstStyle/>
        <a:p>
          <a:pPr>
            <a:lnSpc>
              <a:spcPct val="150000"/>
            </a:lnSpc>
            <a:buFont typeface="Wingdings" panose="05000000000000000000" pitchFamily="2" charset="2"/>
            <a:buChar char="ü"/>
          </a:pPr>
          <a:r>
            <a:rPr lang="en-GB" sz="1100" dirty="0"/>
            <a:t>Data model design</a:t>
          </a:r>
        </a:p>
      </dgm:t>
    </dgm:pt>
    <dgm:pt modelId="{272886AB-B1F7-4E40-90B4-C7960DBE4BC6}" type="parTrans" cxnId="{82BD830C-0890-4944-9670-1030FAFDAD36}">
      <dgm:prSet/>
      <dgm:spPr/>
      <dgm:t>
        <a:bodyPr/>
        <a:lstStyle/>
        <a:p>
          <a:endParaRPr lang="en-GB"/>
        </a:p>
      </dgm:t>
    </dgm:pt>
    <dgm:pt modelId="{88310FBB-C995-488E-B9E4-06601E9529A4}" type="sibTrans" cxnId="{82BD830C-0890-4944-9670-1030FAFDAD36}">
      <dgm:prSet/>
      <dgm:spPr/>
      <dgm:t>
        <a:bodyPr/>
        <a:lstStyle/>
        <a:p>
          <a:endParaRPr lang="en-GB"/>
        </a:p>
      </dgm:t>
    </dgm:pt>
    <dgm:pt modelId="{722059E4-A748-4A8B-8781-AB6D2D353394}">
      <dgm:prSet custT="1"/>
      <dgm:spPr/>
      <dgm:t>
        <a:bodyPr/>
        <a:lstStyle/>
        <a:p>
          <a:pPr>
            <a:lnSpc>
              <a:spcPct val="150000"/>
            </a:lnSpc>
            <a:buFont typeface="Wingdings" panose="05000000000000000000" pitchFamily="2" charset="2"/>
            <a:buChar char="ü"/>
          </a:pPr>
          <a:r>
            <a:rPr lang="en-GB" sz="1100" dirty="0"/>
            <a:t>Demo</a:t>
          </a:r>
        </a:p>
      </dgm:t>
    </dgm:pt>
    <dgm:pt modelId="{E0F69483-11ED-4B91-9141-56F9A481AC2E}" type="parTrans" cxnId="{70EFA57B-C632-41A4-8FD1-52474CE9C91B}">
      <dgm:prSet/>
      <dgm:spPr/>
      <dgm:t>
        <a:bodyPr/>
        <a:lstStyle/>
        <a:p>
          <a:endParaRPr lang="en-GB"/>
        </a:p>
      </dgm:t>
    </dgm:pt>
    <dgm:pt modelId="{BF0F9C3A-7161-435E-B116-A646B86BE65D}" type="sibTrans" cxnId="{70EFA57B-C632-41A4-8FD1-52474CE9C91B}">
      <dgm:prSet/>
      <dgm:spPr/>
      <dgm:t>
        <a:bodyPr/>
        <a:lstStyle/>
        <a:p>
          <a:endParaRPr lang="en-GB"/>
        </a:p>
      </dgm:t>
    </dgm:pt>
    <dgm:pt modelId="{CA39C776-1E27-4904-8DB3-2D5DD7EBBFFA}">
      <dgm:prSet custT="1"/>
      <dgm:spPr/>
      <dgm:t>
        <a:bodyPr/>
        <a:lstStyle/>
        <a:p>
          <a:pPr>
            <a:lnSpc>
              <a:spcPct val="150000"/>
            </a:lnSpc>
            <a:buFont typeface="Wingdings" panose="05000000000000000000" pitchFamily="2" charset="2"/>
            <a:buChar char="ü"/>
          </a:pPr>
          <a:r>
            <a:rPr lang="en-GB" sz="1100" dirty="0"/>
            <a:t>Types of flow</a:t>
          </a:r>
        </a:p>
      </dgm:t>
    </dgm:pt>
    <dgm:pt modelId="{9C148EF5-537F-4960-9314-AAD245B07C3D}" type="parTrans" cxnId="{93471932-2A34-4FFA-8040-DA64249AFE39}">
      <dgm:prSet/>
      <dgm:spPr/>
      <dgm:t>
        <a:bodyPr/>
        <a:lstStyle/>
        <a:p>
          <a:endParaRPr lang="en-GB"/>
        </a:p>
      </dgm:t>
    </dgm:pt>
    <dgm:pt modelId="{3F1D3250-0E7C-4F77-8EED-C20DDC838F8B}" type="sibTrans" cxnId="{93471932-2A34-4FFA-8040-DA64249AFE39}">
      <dgm:prSet/>
      <dgm:spPr/>
      <dgm:t>
        <a:bodyPr/>
        <a:lstStyle/>
        <a:p>
          <a:endParaRPr lang="en-GB"/>
        </a:p>
      </dgm:t>
    </dgm:pt>
    <dgm:pt modelId="{ACF45D7E-EB1D-4123-9D63-5147010D7F29}">
      <dgm:prSet custT="1"/>
      <dgm:spPr/>
      <dgm:t>
        <a:bodyPr/>
        <a:lstStyle/>
        <a:p>
          <a:pPr>
            <a:lnSpc>
              <a:spcPct val="150000"/>
            </a:lnSpc>
            <a:buFont typeface="Wingdings" panose="05000000000000000000" pitchFamily="2" charset="2"/>
            <a:buChar char="ü"/>
          </a:pPr>
          <a:r>
            <a:rPr lang="en-GB" sz="1100" dirty="0"/>
            <a:t>Data types and expression</a:t>
          </a:r>
        </a:p>
      </dgm:t>
    </dgm:pt>
    <dgm:pt modelId="{33ACDDAE-76C8-4C30-BF80-07F97DBB8120}" type="parTrans" cxnId="{389F8231-A005-4059-8AFB-6DAFB98A445F}">
      <dgm:prSet/>
      <dgm:spPr/>
      <dgm:t>
        <a:bodyPr/>
        <a:lstStyle/>
        <a:p>
          <a:endParaRPr lang="en-GB"/>
        </a:p>
      </dgm:t>
    </dgm:pt>
    <dgm:pt modelId="{9213C03E-45C7-45C9-8C29-4213FA7D41B9}" type="sibTrans" cxnId="{389F8231-A005-4059-8AFB-6DAFB98A445F}">
      <dgm:prSet/>
      <dgm:spPr/>
      <dgm:t>
        <a:bodyPr/>
        <a:lstStyle/>
        <a:p>
          <a:endParaRPr lang="en-GB"/>
        </a:p>
      </dgm:t>
    </dgm:pt>
    <dgm:pt modelId="{401F0372-7C1A-47C1-ADD7-711995422879}">
      <dgm:prSet custT="1"/>
      <dgm:spPr/>
      <dgm:t>
        <a:bodyPr/>
        <a:lstStyle/>
        <a:p>
          <a:pPr>
            <a:lnSpc>
              <a:spcPct val="150000"/>
            </a:lnSpc>
            <a:buFont typeface="Wingdings" panose="05000000000000000000" pitchFamily="2" charset="2"/>
            <a:buChar char="ü"/>
          </a:pPr>
          <a:r>
            <a:rPr lang="en-GB" sz="1100" dirty="0"/>
            <a:t>Working with Arrays</a:t>
          </a:r>
        </a:p>
      </dgm:t>
    </dgm:pt>
    <dgm:pt modelId="{FA7CC548-1847-4128-BA6E-3149BCFABE1E}" type="parTrans" cxnId="{ED84E10E-4758-4D92-A8D4-883E33538944}">
      <dgm:prSet/>
      <dgm:spPr/>
      <dgm:t>
        <a:bodyPr/>
        <a:lstStyle/>
        <a:p>
          <a:endParaRPr lang="en-GB"/>
        </a:p>
      </dgm:t>
    </dgm:pt>
    <dgm:pt modelId="{0F96B1C2-B14D-48B3-9213-F2B58460E366}" type="sibTrans" cxnId="{ED84E10E-4758-4D92-A8D4-883E33538944}">
      <dgm:prSet/>
      <dgm:spPr/>
      <dgm:t>
        <a:bodyPr/>
        <a:lstStyle/>
        <a:p>
          <a:endParaRPr lang="en-GB"/>
        </a:p>
      </dgm:t>
    </dgm:pt>
    <dgm:pt modelId="{B9E04480-191E-4EE4-B47A-C7D607722DD4}">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BAA74BFC-6D7F-4481-B325-0A977FA4DEB0}" type="parTrans" cxnId="{56200E4F-CCD6-4F7B-857D-4C07847374F7}">
      <dgm:prSet/>
      <dgm:spPr/>
      <dgm:t>
        <a:bodyPr/>
        <a:lstStyle/>
        <a:p>
          <a:endParaRPr lang="en-GB"/>
        </a:p>
      </dgm:t>
    </dgm:pt>
    <dgm:pt modelId="{62E32415-EA97-4C50-B59F-BA185762F1ED}" type="sibTrans" cxnId="{56200E4F-CCD6-4F7B-857D-4C07847374F7}">
      <dgm:prSet/>
      <dgm:spPr/>
      <dgm:t>
        <a:bodyPr/>
        <a:lstStyle/>
        <a:p>
          <a:endParaRPr lang="en-GB"/>
        </a:p>
      </dgm:t>
    </dgm:pt>
    <dgm:pt modelId="{C657AF91-1E17-40EF-9890-50B43ED87700}">
      <dgm:prSet custT="1"/>
      <dgm:spPr/>
      <dgm:t>
        <a:bodyPr/>
        <a:lstStyle/>
        <a:p>
          <a:pPr>
            <a:lnSpc>
              <a:spcPct val="150000"/>
            </a:lnSpc>
            <a:buFont typeface="Wingdings" panose="05000000000000000000" pitchFamily="2" charset="2"/>
            <a:buChar char="ü"/>
          </a:pPr>
          <a:r>
            <a:rPr lang="en-GB" sz="1100" dirty="0"/>
            <a:t>Demo</a:t>
          </a:r>
        </a:p>
      </dgm:t>
    </dgm:pt>
    <dgm:pt modelId="{55676C19-027A-4706-9920-9F38CB78BB55}" type="parTrans" cxnId="{3E422639-45BD-4ECC-8D61-FEA975A3F6A7}">
      <dgm:prSet/>
      <dgm:spPr/>
      <dgm:t>
        <a:bodyPr/>
        <a:lstStyle/>
        <a:p>
          <a:endParaRPr lang="en-GB"/>
        </a:p>
      </dgm:t>
    </dgm:pt>
    <dgm:pt modelId="{BE406468-ACD9-48DC-8128-CF031B39F537}" type="sibTrans" cxnId="{3E422639-45BD-4ECC-8D61-FEA975A3F6A7}">
      <dgm:prSet/>
      <dgm:spPr/>
      <dgm:t>
        <a:bodyPr/>
        <a:lstStyle/>
        <a:p>
          <a:endParaRPr lang="en-GB"/>
        </a:p>
      </dgm:t>
    </dgm:pt>
    <dgm:pt modelId="{1144DE18-D484-4BAD-9BCD-C2A895778177}">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9AA8132E-8CDA-4B15-A603-A6896F9F03B5}" type="parTrans" cxnId="{6EEA13DD-BDFC-480B-986D-C0DA4A14A9A5}">
      <dgm:prSet/>
      <dgm:spPr/>
      <dgm:t>
        <a:bodyPr/>
        <a:lstStyle/>
        <a:p>
          <a:endParaRPr lang="en-GB"/>
        </a:p>
      </dgm:t>
    </dgm:pt>
    <dgm:pt modelId="{F46E2948-5B5B-4C02-B9BF-46504DD0308B}" type="sibTrans" cxnId="{6EEA13DD-BDFC-480B-986D-C0DA4A14A9A5}">
      <dgm:prSet/>
      <dgm:spPr/>
      <dgm:t>
        <a:bodyPr/>
        <a:lstStyle/>
        <a:p>
          <a:endParaRPr lang="en-GB"/>
        </a:p>
      </dgm:t>
    </dgm:pt>
    <dgm:pt modelId="{18F0B681-B9EA-4FB0-9513-5822E4463EBD}">
      <dgm:prSet custT="1"/>
      <dgm:spPr/>
      <dgm:t>
        <a:bodyPr/>
        <a:lstStyle/>
        <a:p>
          <a:pPr>
            <a:lnSpc>
              <a:spcPct val="150000"/>
            </a:lnSpc>
            <a:buFont typeface="Wingdings" panose="05000000000000000000" pitchFamily="2" charset="2"/>
            <a:buChar char="ü"/>
          </a:pPr>
          <a:r>
            <a:rPr lang="en-GB" sz="1100" dirty="0"/>
            <a:t>Converse everywhere</a:t>
          </a:r>
        </a:p>
      </dgm:t>
    </dgm:pt>
    <dgm:pt modelId="{8C88E6FE-C5AD-4CAF-AE8C-CCF25063B973}" type="parTrans" cxnId="{33216F7E-EB20-40E4-80B2-230741B9066C}">
      <dgm:prSet/>
      <dgm:spPr/>
      <dgm:t>
        <a:bodyPr/>
        <a:lstStyle/>
        <a:p>
          <a:endParaRPr lang="en-GB"/>
        </a:p>
      </dgm:t>
    </dgm:pt>
    <dgm:pt modelId="{47555A9B-AE81-4212-AC0C-7EE78B56AAF0}" type="sibTrans" cxnId="{33216F7E-EB20-40E4-80B2-230741B9066C}">
      <dgm:prSet/>
      <dgm:spPr/>
      <dgm:t>
        <a:bodyPr/>
        <a:lstStyle/>
        <a:p>
          <a:endParaRPr lang="en-GB"/>
        </a:p>
      </dgm:t>
    </dgm:pt>
    <dgm:pt modelId="{5D035B97-44EF-4AEA-8EA9-786BFFB57C24}">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F391588B-CA74-4C9D-A172-969FAD9EC2C7}" type="parTrans" cxnId="{28247E90-1B6F-4B60-81B0-69A13C78E8E6}">
      <dgm:prSet/>
      <dgm:spPr/>
      <dgm:t>
        <a:bodyPr/>
        <a:lstStyle/>
        <a:p>
          <a:endParaRPr lang="en-GB"/>
        </a:p>
      </dgm:t>
    </dgm:pt>
    <dgm:pt modelId="{526DFEE8-A2CC-451F-96A0-8BD0290E9072}" type="sibTrans" cxnId="{28247E90-1B6F-4B60-81B0-69A13C78E8E6}">
      <dgm:prSet/>
      <dgm:spPr/>
      <dgm:t>
        <a:bodyPr/>
        <a:lstStyle/>
        <a:p>
          <a:endParaRPr lang="en-GB"/>
        </a:p>
      </dgm:t>
    </dgm:pt>
    <dgm:pt modelId="{2D85A258-BD61-47B2-9E3B-C776B166BC78}">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3D209DB1-1815-42D9-B095-BA67D5DBDE30}" type="parTrans" cxnId="{92AC3946-CDA3-4501-91BD-9B25261E4187}">
      <dgm:prSet/>
      <dgm:spPr/>
      <dgm:t>
        <a:bodyPr/>
        <a:lstStyle/>
        <a:p>
          <a:endParaRPr lang="en-GB"/>
        </a:p>
      </dgm:t>
    </dgm:pt>
    <dgm:pt modelId="{B9237FBB-FC76-46CF-89AD-113695AA5104}" type="sibTrans" cxnId="{92AC3946-CDA3-4501-91BD-9B25261E4187}">
      <dgm:prSet/>
      <dgm:spPr/>
      <dgm:t>
        <a:bodyPr/>
        <a:lstStyle/>
        <a:p>
          <a:endParaRPr lang="en-GB"/>
        </a:p>
      </dgm:t>
    </dgm:pt>
    <dgm:pt modelId="{5951F983-4936-4025-8BA3-AA9A370B681C}">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3846E38C-ECBD-4663-BCDF-8DABCB67D5A0}" type="parTrans" cxnId="{02EC88E5-EB7E-4B62-AACE-1DF534D5C0EB}">
      <dgm:prSet/>
      <dgm:spPr/>
      <dgm:t>
        <a:bodyPr/>
        <a:lstStyle/>
        <a:p>
          <a:endParaRPr lang="en-GB"/>
        </a:p>
      </dgm:t>
    </dgm:pt>
    <dgm:pt modelId="{08745901-2176-4099-9C90-0DEE84390506}" type="sibTrans" cxnId="{02EC88E5-EB7E-4B62-AACE-1DF534D5C0EB}">
      <dgm:prSet/>
      <dgm:spPr/>
      <dgm:t>
        <a:bodyPr/>
        <a:lstStyle/>
        <a:p>
          <a:endParaRPr lang="en-GB"/>
        </a:p>
      </dgm:t>
    </dgm:pt>
    <dgm:pt modelId="{78CACE34-8D6E-4E2A-8E77-8E06AAA6CB14}">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9F75D9EC-E99F-47C7-BA88-CE4A339E8CC1}" type="parTrans" cxnId="{6F9E7FEA-56DB-4D6C-AD27-F013E8B6B142}">
      <dgm:prSet/>
      <dgm:spPr/>
      <dgm:t>
        <a:bodyPr/>
        <a:lstStyle/>
        <a:p>
          <a:endParaRPr lang="en-GB"/>
        </a:p>
      </dgm:t>
    </dgm:pt>
    <dgm:pt modelId="{D260C768-9DF7-4422-A501-CB3985EE8400}" type="sibTrans" cxnId="{6F9E7FEA-56DB-4D6C-AD27-F013E8B6B142}">
      <dgm:prSet/>
      <dgm:spPr/>
      <dgm:t>
        <a:bodyPr/>
        <a:lstStyle/>
        <a:p>
          <a:endParaRPr lang="en-GB"/>
        </a:p>
      </dgm:t>
    </dgm:pt>
    <dgm:pt modelId="{71A8E9CD-2FD9-484D-8E2E-83FD61244E59}">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EA76026B-D568-4469-9D12-1DAB0B730210}" type="parTrans" cxnId="{C6CB7689-D342-4378-94C3-275D81270470}">
      <dgm:prSet/>
      <dgm:spPr/>
      <dgm:t>
        <a:bodyPr/>
        <a:lstStyle/>
        <a:p>
          <a:endParaRPr lang="en-GB"/>
        </a:p>
      </dgm:t>
    </dgm:pt>
    <dgm:pt modelId="{13BB9266-425F-47F3-A935-7B8C5621597D}" type="sibTrans" cxnId="{C6CB7689-D342-4378-94C3-275D81270470}">
      <dgm:prSet/>
      <dgm:spPr/>
      <dgm:t>
        <a:bodyPr/>
        <a:lstStyle/>
        <a:p>
          <a:endParaRPr lang="en-GB"/>
        </a:p>
      </dgm:t>
    </dgm:pt>
    <dgm:pt modelId="{BD772AA2-0057-48EB-841D-9BC045512D38}">
      <dgm:prSet custT="1"/>
      <dgm:spPr/>
      <dgm:t>
        <a:bodyPr/>
        <a:lstStyle/>
        <a:p>
          <a:pPr>
            <a:lnSpc>
              <a:spcPct val="150000"/>
            </a:lnSpc>
            <a:buFont typeface="Wingdings" panose="05000000000000000000" pitchFamily="2" charset="2"/>
            <a:buChar char="ü"/>
          </a:pPr>
          <a:r>
            <a:rPr lang="en-GB" sz="1100" dirty="0"/>
            <a:t>Demo</a:t>
          </a:r>
        </a:p>
      </dgm:t>
    </dgm:pt>
    <dgm:pt modelId="{4B311D96-8E7F-4F2D-A0B9-EC6CDE961B16}" type="parTrans" cxnId="{81B594E4-E77F-43CE-8D05-73975001A173}">
      <dgm:prSet/>
      <dgm:spPr/>
      <dgm:t>
        <a:bodyPr/>
        <a:lstStyle/>
        <a:p>
          <a:endParaRPr lang="en-GB"/>
        </a:p>
      </dgm:t>
    </dgm:pt>
    <dgm:pt modelId="{4814EA35-3EB9-4A2D-B0F9-028471BDED58}" type="sibTrans" cxnId="{81B594E4-E77F-43CE-8D05-73975001A173}">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77F1DE0B-593D-46F9-9A6C-3926F96637F8}" type="presOf" srcId="{54C72AF5-701B-4378-8525-F1DF460F34ED}" destId="{FE6D297C-C9E0-4A7D-A12A-BA53DEE78AEC}" srcOrd="0" destOrd="1" presId="urn:microsoft.com/office/officeart/2005/8/layout/hList1"/>
    <dgm:cxn modelId="{82BD830C-0890-4944-9670-1030FAFDAD36}" srcId="{AA0CC1A4-89B3-4AA2-AE39-4C1399639CA2}" destId="{ACC56B55-B54D-4F97-A978-D694743ADE3E}" srcOrd="5" destOrd="0" parTransId="{272886AB-B1F7-4E40-90B4-C7960DBE4BC6}" sibTransId="{88310FBB-C995-488E-B9E4-06601E9529A4}"/>
    <dgm:cxn modelId="{E3ED610E-D840-4A47-82CA-1963CEA02A3D}" srcId="{AC11CA59-F486-473C-AE1A-BD3E159BD48A}" destId="{DF86A6E5-580E-4F2A-B223-B458E5A97CE4}" srcOrd="4" destOrd="0" parTransId="{A3F965A0-4DFA-4DB1-BF22-9BD549EB3157}" sibTransId="{A2239809-CB4C-48EC-8779-BE5C55EB41C1}"/>
    <dgm:cxn modelId="{ED84E10E-4758-4D92-A8D4-883E33538944}" srcId="{639BF8EA-4D33-4B30-911B-6776BADCAC46}" destId="{401F0372-7C1A-47C1-ADD7-711995422879}" srcOrd="3" destOrd="0" parTransId="{FA7CC548-1847-4128-BA6E-3149BCFABE1E}" sibTransId="{0F96B1C2-B14D-48B3-9213-F2B58460E366}"/>
    <dgm:cxn modelId="{E455D314-3C2C-445D-8605-B78D41BFD70B}" type="presOf" srcId="{FC2E9FD0-AD1A-4E81-8CE8-F5387731ACC5}" destId="{6BCC47BA-0C21-4EC9-8F7B-D9BCA5C8EC21}" srcOrd="0" destOrd="0" presId="urn:microsoft.com/office/officeart/2005/8/layout/hList1"/>
    <dgm:cxn modelId="{37581F1C-5334-445E-829C-72AF65A4BDB2}" type="presOf" srcId="{AA0CC1A4-89B3-4AA2-AE39-4C1399639CA2}" destId="{6D51457A-C3C5-41AF-B616-CDB4705EBFBD}" srcOrd="0" destOrd="0" presId="urn:microsoft.com/office/officeart/2005/8/layout/hList1"/>
    <dgm:cxn modelId="{CE4D4D1E-7755-456F-BC4E-8D9B3E3BB04A}" srcId="{5D730ECF-5E56-4BCC-9295-01AA7310EDA9}" destId="{DDB2D429-A54B-474B-9DCF-A0E6B52D46DA}" srcOrd="4" destOrd="0" parTransId="{B3BE7EFD-D6E0-4FFE-9245-9412FF200740}" sibTransId="{08ECC846-92B0-466D-8FBC-C4D6AC294A79}"/>
    <dgm:cxn modelId="{EF36FC1E-4365-425E-BD5B-9EA542F2C980}" type="presOf" srcId="{1144DE18-D484-4BAD-9BCD-C2A895778177}" destId="{6BCC47BA-0C21-4EC9-8F7B-D9BCA5C8EC21}" srcOrd="0" destOrd="1" presId="urn:microsoft.com/office/officeart/2005/8/layout/hList1"/>
    <dgm:cxn modelId="{803A602C-5B01-40EC-BFAD-279105D23941}" type="presOf" srcId="{0CF6FF1F-C08F-4FC3-A083-8DE69E9808EC}" destId="{F9540AD5-4F34-4720-A853-23023519F2F5}" srcOrd="0" destOrd="4" presId="urn:microsoft.com/office/officeart/2005/8/layout/hList1"/>
    <dgm:cxn modelId="{389F8231-A005-4059-8AFB-6DAFB98A445F}" srcId="{639BF8EA-4D33-4B30-911B-6776BADCAC46}" destId="{ACF45D7E-EB1D-4123-9D63-5147010D7F29}" srcOrd="2" destOrd="0" parTransId="{33ACDDAE-76C8-4C30-BF80-07F97DBB8120}" sibTransId="{9213C03E-45C7-45C9-8C29-4213FA7D41B9}"/>
    <dgm:cxn modelId="{93471932-2A34-4FFA-8040-DA64249AFE39}" srcId="{639BF8EA-4D33-4B30-911B-6776BADCAC46}" destId="{CA39C776-1E27-4904-8DB3-2D5DD7EBBFFA}" srcOrd="1" destOrd="0" parTransId="{9C148EF5-537F-4960-9314-AAD245B07C3D}" sibTransId="{3F1D3250-0E7C-4F77-8EED-C20DDC838F8B}"/>
    <dgm:cxn modelId="{3E422639-45BD-4ECC-8D61-FEA975A3F6A7}" srcId="{639BF8EA-4D33-4B30-911B-6776BADCAC46}" destId="{C657AF91-1E17-40EF-9890-50B43ED87700}" srcOrd="5" destOrd="0" parTransId="{55676C19-027A-4706-9920-9F38CB78BB55}" sibTransId="{BE406468-ACD9-48DC-8128-CF031B39F537}"/>
    <dgm:cxn modelId="{55754E5C-3147-44A5-89C7-7517FAF11EB9}" type="presOf" srcId="{ACF45D7E-EB1D-4123-9D63-5147010D7F29}" destId="{569DA3D3-C2E5-4089-A6F0-CF7A0DE5293E}" srcOrd="0" destOrd="2" presId="urn:microsoft.com/office/officeart/2005/8/layout/hList1"/>
    <dgm:cxn modelId="{227F285F-07B4-4102-AA0F-9D3E0C5486BE}" type="presOf" srcId="{733AC198-8C9A-4B42-9E53-02CEB15F3C9F}" destId="{CD66AAD5-A74B-4989-8AD5-348B79FA87C7}" srcOrd="0" destOrd="3" presId="urn:microsoft.com/office/officeart/2005/8/layout/hList1"/>
    <dgm:cxn modelId="{3D59E865-B3CD-4FB1-87EE-B17547F900D0}" type="presOf" srcId="{C657AF91-1E17-40EF-9890-50B43ED87700}" destId="{569DA3D3-C2E5-4089-A6F0-CF7A0DE5293E}" srcOrd="0" destOrd="5" presId="urn:microsoft.com/office/officeart/2005/8/layout/hList1"/>
    <dgm:cxn modelId="{92AC3946-CDA3-4501-91BD-9B25261E4187}" srcId="{DF86A6E5-580E-4F2A-B223-B458E5A97CE4}" destId="{2D85A258-BD61-47B2-9E3B-C776B166BC78}" srcOrd="4" destOrd="0" parTransId="{3D209DB1-1815-42D9-B095-BA67D5DBDE30}" sibTransId="{B9237FBB-FC76-46CF-89AD-113695AA5104}"/>
    <dgm:cxn modelId="{E2FE5168-614E-4332-9434-C2A45F9788E4}" srcId="{AA0CC1A4-89B3-4AA2-AE39-4C1399639CA2}" destId="{0F8B0C98-A74B-4E44-B92F-2CAB105C195E}" srcOrd="4" destOrd="0" parTransId="{75ADCC08-01ED-4D06-A1CC-F0123111E0EE}" sibTransId="{5D083F13-5804-4978-8269-5CEC2CDF2CEE}"/>
    <dgm:cxn modelId="{F37D8A48-094D-4291-8663-3219EE933036}" type="presOf" srcId="{630C8C32-A979-40C7-BDD7-71A76577670D}" destId="{F9540AD5-4F34-4720-A853-23023519F2F5}" srcOrd="0" destOrd="0"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56200E4F-CCD6-4F7B-857D-4C07847374F7}" srcId="{639BF8EA-4D33-4B30-911B-6776BADCAC46}" destId="{B9E04480-191E-4EE4-B47A-C7D607722DD4}" srcOrd="4" destOrd="0" parTransId="{BAA74BFC-6D7F-4481-B325-0A977FA4DEB0}" sibTransId="{62E32415-EA97-4C50-B59F-BA185762F1ED}"/>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BFCC3057-757D-408F-B91D-CED24E8925F4}" srcId="{AA0CC1A4-89B3-4AA2-AE39-4C1399639CA2}" destId="{7A35B426-1F7B-470E-83C9-8B734CBF59CF}" srcOrd="3" destOrd="0" parTransId="{4D6F01C8-1B7B-4631-8135-A5886B2B0D75}" sibTransId="{C1D13965-F077-4D0D-AF66-F16ABF1EB9AC}"/>
    <dgm:cxn modelId="{9426DF58-2E78-4D03-BF93-B143EBABEBAC}" type="presOf" srcId="{CA39C776-1E27-4904-8DB3-2D5DD7EBBFFA}" destId="{569DA3D3-C2E5-4089-A6F0-CF7A0DE5293E}" srcOrd="0" destOrd="1" presId="urn:microsoft.com/office/officeart/2005/8/layout/hList1"/>
    <dgm:cxn modelId="{AC329C7B-D329-46C2-8857-FF06C5AAD371}" type="presOf" srcId="{5D035B97-44EF-4AEA-8EA9-786BFFB57C24}" destId="{6BCC47BA-0C21-4EC9-8F7B-D9BCA5C8EC21}" srcOrd="0" destOrd="3" presId="urn:microsoft.com/office/officeart/2005/8/layout/hList1"/>
    <dgm:cxn modelId="{70EFA57B-C632-41A4-8FD1-52474CE9C91B}" srcId="{AA0CC1A4-89B3-4AA2-AE39-4C1399639CA2}" destId="{722059E4-A748-4A8B-8781-AB6D2D353394}" srcOrd="6" destOrd="0" parTransId="{E0F69483-11ED-4B91-9141-56F9A481AC2E}" sibTransId="{BF0F9C3A-7161-435E-B116-A646B86BE65D}"/>
    <dgm:cxn modelId="{F856FA7B-3279-4151-88C6-FC89EF00CA04}" srcId="{AC11CA59-F486-473C-AE1A-BD3E159BD48A}" destId="{AA0CC1A4-89B3-4AA2-AE39-4C1399639CA2}" srcOrd="2" destOrd="0" parTransId="{C0AF6D3B-B26B-43D4-8370-C068EA004DB7}" sibTransId="{6CDD5F2F-DC14-46D9-87E7-871C2297CCE1}"/>
    <dgm:cxn modelId="{33216F7E-EB20-40E4-80B2-230741B9066C}" srcId="{DF86A6E5-580E-4F2A-B223-B458E5A97CE4}" destId="{18F0B681-B9EA-4FB0-9513-5822E4463EBD}" srcOrd="2" destOrd="0" parTransId="{8C88E6FE-C5AD-4CAF-AE8C-CCF25063B973}" sibTransId="{47555A9B-AE81-4212-AC0C-7EE78B56AAF0}"/>
    <dgm:cxn modelId="{59010887-7A53-4F2B-9A4A-FC2882A38B5F}" type="presOf" srcId="{BD772AA2-0057-48EB-841D-9BC045512D38}" destId="{6BCC47BA-0C21-4EC9-8F7B-D9BCA5C8EC21}" srcOrd="0" destOrd="8" presId="urn:microsoft.com/office/officeart/2005/8/layout/hList1"/>
    <dgm:cxn modelId="{3790F588-BD57-4CCE-B91D-33379F88B9D6}" type="presOf" srcId="{F44527D1-3623-4718-A5C7-590A95354660}" destId="{CD66AAD5-A74B-4989-8AD5-348B79FA87C7}" srcOrd="0" destOrd="0" presId="urn:microsoft.com/office/officeart/2005/8/layout/hList1"/>
    <dgm:cxn modelId="{C6CB7689-D342-4378-94C3-275D81270470}" srcId="{DF86A6E5-580E-4F2A-B223-B458E5A97CE4}" destId="{71A8E9CD-2FD9-484D-8E2E-83FD61244E59}" srcOrd="7" destOrd="0" parTransId="{EA76026B-D568-4469-9D12-1DAB0B730210}" sibTransId="{13BB9266-425F-47F3-A935-7B8C5621597D}"/>
    <dgm:cxn modelId="{9DF6AC8D-89BC-48AB-B5E7-706F9C98CAF0}" type="presOf" srcId="{5951F983-4936-4025-8BA3-AA9A370B681C}" destId="{6BCC47BA-0C21-4EC9-8F7B-D9BCA5C8EC21}" srcOrd="0" destOrd="5" presId="urn:microsoft.com/office/officeart/2005/8/layout/hList1"/>
    <dgm:cxn modelId="{28247E90-1B6F-4B60-81B0-69A13C78E8E6}" srcId="{DF86A6E5-580E-4F2A-B223-B458E5A97CE4}" destId="{5D035B97-44EF-4AEA-8EA9-786BFFB57C24}" srcOrd="3" destOrd="0" parTransId="{F391588B-CA74-4C9D-A172-969FAD9EC2C7}" sibTransId="{526DFEE8-A2CC-451F-96A0-8BD0290E9072}"/>
    <dgm:cxn modelId="{AF7BF292-2C27-461D-853B-8C4CA561F6AD}" srcId="{5D730ECF-5E56-4BCC-9295-01AA7310EDA9}" destId="{CD46F9DC-3097-44BC-84D4-73B85CEB5AD8}" srcOrd="5" destOrd="0" parTransId="{F5D89BF0-17D8-44A5-BA06-5DED91DD8CC8}" sibTransId="{49003F09-2FDB-479F-BDDC-77A41BFD5C88}"/>
    <dgm:cxn modelId="{80D2EB97-FE6E-41F7-AAC0-D99588067CBF}" type="presOf" srcId="{0F8B0C98-A74B-4E44-B92F-2CAB105C195E}" destId="{FE6D297C-C9E0-4A7D-A12A-BA53DEE78AEC}" srcOrd="0" destOrd="4"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0ED3DF9B-E4B0-4681-95D2-1F1F9BB4BD14}" type="presOf" srcId="{CD46F9DC-3097-44BC-84D4-73B85CEB5AD8}" destId="{CD66AAD5-A74B-4989-8AD5-348B79FA87C7}" srcOrd="0" destOrd="5" presId="urn:microsoft.com/office/officeart/2005/8/layout/hList1"/>
    <dgm:cxn modelId="{F9C9F39C-7EC0-43C6-9FB2-54FA2A754ED4}" srcId="{5D730ECF-5E56-4BCC-9295-01AA7310EDA9}" destId="{DC1AB3C9-E76A-4172-85C2-F2254809A158}" srcOrd="1" destOrd="0" parTransId="{C5D9562B-6B57-4AC9-BF23-4DE294D9CCC0}" sibTransId="{166C141F-AA0E-4C97-B1EA-A06F2DE1C2CA}"/>
    <dgm:cxn modelId="{44C8BE9E-8A73-47DE-BA80-191BAB42247C}" type="presOf" srcId="{401F0372-7C1A-47C1-ADD7-711995422879}" destId="{569DA3D3-C2E5-4089-A6F0-CF7A0DE5293E}" srcOrd="0" destOrd="3"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6EF1EBA1-E49D-428D-BFC4-1C65518BD8D7}" type="presOf" srcId="{ACC56B55-B54D-4F97-A978-D694743ADE3E}" destId="{FE6D297C-C9E0-4A7D-A12A-BA53DEE78AEC}" srcOrd="0" destOrd="5" presId="urn:microsoft.com/office/officeart/2005/8/layout/hList1"/>
    <dgm:cxn modelId="{D1018BA4-D551-4AF8-AE83-3A349CE9146F}" type="presOf" srcId="{639BF8EA-4D33-4B30-911B-6776BADCAC46}" destId="{79AA2380-6C09-4C3E-A320-87D02EF11B92}" srcOrd="0" destOrd="0" presId="urn:microsoft.com/office/officeart/2005/8/layout/hList1"/>
    <dgm:cxn modelId="{B5363AA6-367E-4352-9210-91B6613AEB54}" srcId="{5D730ECF-5E56-4BCC-9295-01AA7310EDA9}" destId="{893E7C06-D653-47A6-AE1C-68D245AF3E64}" srcOrd="6" destOrd="0" parTransId="{3933C5AD-E0BA-4B92-AAA9-061A899CA552}" sibTransId="{2CB8B4CF-883F-4D1D-926C-DAE94DA4D2AC}"/>
    <dgm:cxn modelId="{EBA58CA9-A3CE-412F-9474-7EAFF04D075A}" srcId="{5D730ECF-5E56-4BCC-9295-01AA7310EDA9}" destId="{6F7084A3-F6F4-4055-8404-3AB7D7F43B45}" srcOrd="2" destOrd="0" parTransId="{FB834508-C913-4467-8009-DCEB15E722F0}" sibTransId="{06B3AF3A-C83F-448F-BA86-3585D21C19DD}"/>
    <dgm:cxn modelId="{B4E214AA-5BD0-42F3-AC2F-CDAC373FF126}" srcId="{3F8F7C63-6D9D-4496-99F3-13DF66B8EAD6}" destId="{0CF6FF1F-C08F-4FC3-A083-8DE69E9808EC}" srcOrd="4" destOrd="0" parTransId="{E2C68DD5-0B4D-46BB-8703-7E6E04774A00}" sibTransId="{69BB4931-D0E5-4586-B4A7-B24CFD9DD6C0}"/>
    <dgm:cxn modelId="{DC1AC8AC-9C09-4807-AF0C-A7962DB87579}" type="presOf" srcId="{6F7084A3-F6F4-4055-8404-3AB7D7F43B45}" destId="{CD66AAD5-A74B-4989-8AD5-348B79FA87C7}" srcOrd="0" destOrd="2"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438FBBBF-6D29-4D7B-82E9-FC50AE202B5F}" type="presOf" srcId="{71A8E9CD-2FD9-484D-8E2E-83FD61244E59}" destId="{6BCC47BA-0C21-4EC9-8F7B-D9BCA5C8EC21}" srcOrd="0" destOrd="7" presId="urn:microsoft.com/office/officeart/2005/8/layout/hList1"/>
    <dgm:cxn modelId="{6BE278C0-C94B-4C6B-AC78-409341D28AA8}" type="presOf" srcId="{DDB2D429-A54B-474B-9DCF-A0E6B52D46DA}" destId="{CD66AAD5-A74B-4989-8AD5-348B79FA87C7}" srcOrd="0" destOrd="4" presId="urn:microsoft.com/office/officeart/2005/8/layout/hList1"/>
    <dgm:cxn modelId="{ECC1D2C5-2A04-4ECA-8B4E-66926045B756}" type="presOf" srcId="{78CACE34-8D6E-4E2A-8E77-8E06AAA6CB14}" destId="{6BCC47BA-0C21-4EC9-8F7B-D9BCA5C8EC21}" srcOrd="0" destOrd="6" presId="urn:microsoft.com/office/officeart/2005/8/layout/hList1"/>
    <dgm:cxn modelId="{FFB818C7-DF6C-47C8-B2DD-A5DB62320516}" type="presOf" srcId="{DC1AB3C9-E76A-4172-85C2-F2254809A158}" destId="{CD66AAD5-A74B-4989-8AD5-348B79FA87C7}" srcOrd="0" destOrd="1"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71F5C5CE-76D8-4EC7-A21E-453AF89BD604}" srcId="{5D730ECF-5E56-4BCC-9295-01AA7310EDA9}" destId="{733AC198-8C9A-4B42-9E53-02CEB15F3C9F}" srcOrd="3" destOrd="0" parTransId="{0608B9E6-3495-41C4-8CB6-E742C70D3BD5}" sibTransId="{4C7AF5B8-74FC-4ECC-8F44-8EC6EDA79510}"/>
    <dgm:cxn modelId="{D4F09DD2-D7DC-4C0A-B107-20DDDF7554E9}" srcId="{639BF8EA-4D33-4B30-911B-6776BADCAC46}" destId="{8A005F68-872E-4565-97CF-5F934A8F7106}" srcOrd="0" destOrd="0" parTransId="{6458AC6F-FC93-49FE-B39E-B3BD37FC1330}" sibTransId="{88809219-9B02-4029-97B7-029D87354175}"/>
    <dgm:cxn modelId="{A9AB27D9-AB37-4556-8F6E-CCDE59F2CF86}" srcId="{AA0CC1A4-89B3-4AA2-AE39-4C1399639CA2}" destId="{54C72AF5-701B-4378-8525-F1DF460F34ED}" srcOrd="1" destOrd="0" parTransId="{5D5C2022-D69D-486A-9984-619FA0DA17BE}" sibTransId="{8D515924-C436-4473-8074-31B0016C1AC1}"/>
    <dgm:cxn modelId="{6EEA13DD-BDFC-480B-986D-C0DA4A14A9A5}" srcId="{DF86A6E5-580E-4F2A-B223-B458E5A97CE4}" destId="{1144DE18-D484-4BAD-9BCD-C2A895778177}" srcOrd="1" destOrd="0" parTransId="{9AA8132E-8CDA-4B15-A603-A6896F9F03B5}" sibTransId="{F46E2948-5B5B-4C02-B9BF-46504DD0308B}"/>
    <dgm:cxn modelId="{209C99E0-8A1B-44A9-A55C-D147A3A22902}" type="presOf" srcId="{7A35B426-1F7B-470E-83C9-8B734CBF59CF}" destId="{FE6D297C-C9E0-4A7D-A12A-BA53DEE78AEC}" srcOrd="0" destOrd="3" presId="urn:microsoft.com/office/officeart/2005/8/layout/hList1"/>
    <dgm:cxn modelId="{57F31CE3-3C73-4217-AE56-B08ECA54219C}" type="presOf" srcId="{2D85A258-BD61-47B2-9E3B-C776B166BC78}" destId="{6BCC47BA-0C21-4EC9-8F7B-D9BCA5C8EC21}" srcOrd="0" destOrd="4" presId="urn:microsoft.com/office/officeart/2005/8/layout/hList1"/>
    <dgm:cxn modelId="{81B594E4-E77F-43CE-8D05-73975001A173}" srcId="{DF86A6E5-580E-4F2A-B223-B458E5A97CE4}" destId="{BD772AA2-0057-48EB-841D-9BC045512D38}" srcOrd="8" destOrd="0" parTransId="{4B311D96-8E7F-4F2D-A0B9-EC6CDE961B16}" sibTransId="{4814EA35-3EB9-4A2D-B0F9-028471BDED58}"/>
    <dgm:cxn modelId="{02EC88E5-EB7E-4B62-AACE-1DF534D5C0EB}" srcId="{DF86A6E5-580E-4F2A-B223-B458E5A97CE4}" destId="{5951F983-4936-4025-8BA3-AA9A370B681C}" srcOrd="5" destOrd="0" parTransId="{3846E38C-ECBD-4663-BCDF-8DABCB67D5A0}" sibTransId="{08745901-2176-4099-9C90-0DEE84390506}"/>
    <dgm:cxn modelId="{28191EE6-95A7-4034-9576-375608FEE2BA}" srcId="{3F8F7C63-6D9D-4496-99F3-13DF66B8EAD6}" destId="{4A547C1D-B2B4-4DC0-9186-F06ADA29D96C}" srcOrd="1" destOrd="0" parTransId="{F4FB9ED1-E83E-49C1-92FA-6655211CE690}" sibTransId="{5B58EB33-10F0-4DE7-8164-D3499FE473A2}"/>
    <dgm:cxn modelId="{B1CE40E7-C3CF-4975-A224-A2279AA3F9DB}" type="presOf" srcId="{3A49676A-F985-4612-8E3F-B09E7F5953A5}" destId="{FE6D297C-C9E0-4A7D-A12A-BA53DEE78AEC}" srcOrd="0" destOrd="2" presId="urn:microsoft.com/office/officeart/2005/8/layout/hList1"/>
    <dgm:cxn modelId="{B329AEE8-4543-402A-AA06-29F3A101607E}" type="presOf" srcId="{DF86A6E5-580E-4F2A-B223-B458E5A97CE4}" destId="{19CDF2AB-3B0B-41CB-AD00-E99839314F1A}" srcOrd="0" destOrd="0" presId="urn:microsoft.com/office/officeart/2005/8/layout/hList1"/>
    <dgm:cxn modelId="{6F9E7FEA-56DB-4D6C-AD27-F013E8B6B142}" srcId="{DF86A6E5-580E-4F2A-B223-B458E5A97CE4}" destId="{78CACE34-8D6E-4E2A-8E77-8E06AAA6CB14}" srcOrd="6" destOrd="0" parTransId="{9F75D9EC-E99F-47C7-BA88-CE4A339E8CC1}" sibTransId="{D260C768-9DF7-4422-A501-CB3985EE8400}"/>
    <dgm:cxn modelId="{D140A2EB-3F7E-42F4-996C-1F3B53C6C159}" type="presOf" srcId="{C6F6A35E-EF9D-42DB-9F6B-51AFF90BC98C}" destId="{FE6D297C-C9E0-4A7D-A12A-BA53DEE78AEC}" srcOrd="0" destOrd="0" presId="urn:microsoft.com/office/officeart/2005/8/layout/hList1"/>
    <dgm:cxn modelId="{59492FEC-B5E7-4969-A53B-A17388F67000}" type="presOf" srcId="{18F0B681-B9EA-4FB0-9513-5822E4463EBD}" destId="{6BCC47BA-0C21-4EC9-8F7B-D9BCA5C8EC21}" srcOrd="0" destOrd="2" presId="urn:microsoft.com/office/officeart/2005/8/layout/hList1"/>
    <dgm:cxn modelId="{B28E83F1-1224-4336-82E7-A73EF15B6468}" type="presOf" srcId="{893E7C06-D653-47A6-AE1C-68D245AF3E64}" destId="{CD66AAD5-A74B-4989-8AD5-348B79FA87C7}" srcOrd="0" destOrd="6" presId="urn:microsoft.com/office/officeart/2005/8/layout/hList1"/>
    <dgm:cxn modelId="{460982F2-6E3B-4E37-86A8-4DD66B6D22CF}" type="presOf" srcId="{B9E04480-191E-4EE4-B47A-C7D607722DD4}" destId="{569DA3D3-C2E5-4089-A6F0-CF7A0DE5293E}" srcOrd="0" destOrd="4" presId="urn:microsoft.com/office/officeart/2005/8/layout/hList1"/>
    <dgm:cxn modelId="{235AF3F2-4DC6-4ACE-9EC0-844AD822351F}" type="presOf" srcId="{8A005F68-872E-4565-97CF-5F934A8F7106}" destId="{569DA3D3-C2E5-4089-A6F0-CF7A0DE5293E}" srcOrd="0" destOrd="0" presId="urn:microsoft.com/office/officeart/2005/8/layout/hList1"/>
    <dgm:cxn modelId="{1A79C8F4-053A-42E7-9A59-549B72D27189}" srcId="{AA0CC1A4-89B3-4AA2-AE39-4C1399639CA2}" destId="{3A49676A-F985-4612-8E3F-B09E7F5953A5}" srcOrd="2" destOrd="0" parTransId="{373F37CE-C981-4F7A-B1CC-0C2867E61ADA}" sibTransId="{0F4E1333-36B3-49FC-BCE9-7962A7ABD1D4}"/>
    <dgm:cxn modelId="{371544FF-7059-4841-86CF-E5F6D0EA4AEB}" type="presOf" srcId="{722059E4-A748-4A8B-8781-AB6D2D353394}" destId="{FE6D297C-C9E0-4A7D-A12A-BA53DEE78AEC}" srcOrd="0" destOrd="6"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rgbClr val="7030A0"/>
        </a:solidFill>
        <a:ln>
          <a:solidFill>
            <a:srgbClr val="7030A0"/>
          </a:solidFill>
        </a:ln>
      </dgm:spPr>
      <dgm:t>
        <a:bodyPr/>
        <a:lstStyle/>
        <a:p>
          <a:r>
            <a:rPr lang="en-AU" sz="1100" dirty="0"/>
            <a:t>Day 3 – Part II</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4 – Part I</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4 – Part II</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5 – Part I</a:t>
          </a:r>
        </a:p>
        <a:p>
          <a:r>
            <a:rPr lang="en-US" sz="1100" dirty="0"/>
            <a:t>Power Platform integration with SharePoint</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US"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 – Part II</a:t>
          </a:r>
        </a:p>
        <a:p>
          <a:r>
            <a:rPr lang="en-US" sz="1100" dirty="0"/>
            <a:t>Power Platform integration with MS Team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US" sz="1100" dirty="0"/>
            <a:t>Introducing </a:t>
          </a:r>
          <a:r>
            <a:rPr lang="en-US" sz="1100" dirty="0" err="1"/>
            <a:t>Dataverse</a:t>
          </a:r>
          <a:r>
            <a:rPr lang="en-US" sz="1100" dirty="0"/>
            <a:t> for Teams</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DFD4E682-CD62-4D63-80C1-3A7ACC380075}">
      <dgm:prSet custT="1"/>
      <dgm:spPr/>
      <dgm:t>
        <a:bodyPr/>
        <a:lstStyle/>
        <a:p>
          <a:pPr>
            <a:lnSpc>
              <a:spcPct val="150000"/>
            </a:lnSpc>
            <a:buFont typeface="Wingdings" panose="05000000000000000000" pitchFamily="2" charset="2"/>
            <a:buChar char="ü"/>
          </a:pPr>
          <a:r>
            <a:rPr lang="en-US" sz="1100" dirty="0"/>
            <a:t>Make Power Apps a MS Teams App</a:t>
          </a:r>
        </a:p>
      </dgm:t>
    </dgm:pt>
    <dgm:pt modelId="{D9CA6CCD-AB2F-418D-8FE8-8FA8A55652B4}" type="parTrans" cxnId="{C6FCFABA-C88C-4617-BB77-9A3DB35F04B9}">
      <dgm:prSet/>
      <dgm:spPr/>
      <dgm:t>
        <a:bodyPr/>
        <a:lstStyle/>
        <a:p>
          <a:endParaRPr lang="en-US"/>
        </a:p>
      </dgm:t>
    </dgm:pt>
    <dgm:pt modelId="{4365FA18-8BD4-41EF-A769-E39597563B5A}" type="sibTrans" cxnId="{C6FCFABA-C88C-4617-BB77-9A3DB35F04B9}">
      <dgm:prSet/>
      <dgm:spPr/>
      <dgm:t>
        <a:bodyPr/>
        <a:lstStyle/>
        <a:p>
          <a:endParaRPr lang="en-US"/>
        </a:p>
      </dgm:t>
    </dgm:pt>
    <dgm:pt modelId="{21CCFBB6-DF6B-41E6-A53B-FED0B3B87759}">
      <dgm:prSet custT="1"/>
      <dgm:spPr/>
      <dgm:t>
        <a:bodyPr/>
        <a:lstStyle/>
        <a:p>
          <a:pPr>
            <a:lnSpc>
              <a:spcPct val="150000"/>
            </a:lnSpc>
            <a:buFont typeface="Wingdings" panose="05000000000000000000" pitchFamily="2" charset="2"/>
            <a:buChar char="ü"/>
          </a:pPr>
          <a:r>
            <a:rPr lang="en-US" sz="1100" dirty="0"/>
            <a:t>Integrate Power Automate with MS Teams</a:t>
          </a:r>
        </a:p>
      </dgm:t>
    </dgm:pt>
    <dgm:pt modelId="{52239B8B-3B77-4F74-BD3C-9743DFBF2CFF}" type="parTrans" cxnId="{D2A29E4E-C7CD-4B3E-B22E-2EC78C57BC5E}">
      <dgm:prSet/>
      <dgm:spPr/>
      <dgm:t>
        <a:bodyPr/>
        <a:lstStyle/>
        <a:p>
          <a:endParaRPr lang="en-US"/>
        </a:p>
      </dgm:t>
    </dgm:pt>
    <dgm:pt modelId="{1B3BE42A-A900-495C-94C9-02749FD2A394}" type="sibTrans" cxnId="{D2A29E4E-C7CD-4B3E-B22E-2EC78C57BC5E}">
      <dgm:prSet/>
      <dgm:spPr/>
      <dgm:t>
        <a:bodyPr/>
        <a:lstStyle/>
        <a:p>
          <a:endParaRPr lang="en-US"/>
        </a:p>
      </dgm:t>
    </dgm:pt>
    <dgm:pt modelId="{1398E940-3E9F-4501-AFF5-E9D69BDDBE6B}">
      <dgm:prSet custT="1"/>
      <dgm:spPr/>
      <dgm:t>
        <a:bodyPr/>
        <a:lstStyle/>
        <a:p>
          <a:pPr>
            <a:lnSpc>
              <a:spcPct val="150000"/>
            </a:lnSpc>
            <a:buFont typeface="Wingdings" panose="05000000000000000000" pitchFamily="2" charset="2"/>
            <a:buChar char="ü"/>
          </a:pPr>
          <a:r>
            <a:rPr lang="en-US" sz="1100" dirty="0"/>
            <a:t>Integrate Power Virtual Agents with MS Teams</a:t>
          </a:r>
        </a:p>
      </dgm:t>
    </dgm:pt>
    <dgm:pt modelId="{03A05D45-A4EB-40BF-A1B1-6B5B9929D8F4}" type="parTrans" cxnId="{0C7502AF-817D-413F-850E-7FD5C7CBD120}">
      <dgm:prSet/>
      <dgm:spPr/>
      <dgm:t>
        <a:bodyPr/>
        <a:lstStyle/>
        <a:p>
          <a:endParaRPr lang="en-US"/>
        </a:p>
      </dgm:t>
    </dgm:pt>
    <dgm:pt modelId="{354BFC51-1B48-449E-86D0-74F114875F1F}" type="sibTrans" cxnId="{0C7502AF-817D-413F-850E-7FD5C7CBD120}">
      <dgm:prSet/>
      <dgm:spPr/>
      <dgm:t>
        <a:bodyPr/>
        <a:lstStyle/>
        <a:p>
          <a:endParaRPr lang="en-US"/>
        </a:p>
      </dgm:t>
    </dgm:pt>
    <dgm:pt modelId="{415EDCB9-A9A5-48D5-9F8C-02F2FBBD3267}">
      <dgm:prSet custT="1"/>
      <dgm:spPr/>
      <dgm:t>
        <a:bodyPr/>
        <a:lstStyle/>
        <a:p>
          <a:pPr>
            <a:lnSpc>
              <a:spcPct val="150000"/>
            </a:lnSpc>
            <a:buFont typeface="Wingdings" panose="05000000000000000000" pitchFamily="2" charset="2"/>
            <a:buChar char="ü"/>
          </a:pPr>
          <a:r>
            <a:rPr lang="en-US" sz="1100" dirty="0"/>
            <a:t>Use case: Leave Management Application</a:t>
          </a:r>
        </a:p>
      </dgm:t>
    </dgm:pt>
    <dgm:pt modelId="{1209D010-E14D-43F0-B369-D4296722BA4B}" type="parTrans" cxnId="{25C31735-C239-4E1B-8A5D-C23BB3E98BBB}">
      <dgm:prSet/>
      <dgm:spPr/>
      <dgm:t>
        <a:bodyPr/>
        <a:lstStyle/>
        <a:p>
          <a:endParaRPr lang="en-US"/>
        </a:p>
      </dgm:t>
    </dgm:pt>
    <dgm:pt modelId="{15DB87BE-5468-403D-AE8B-2777160EABE8}" type="sibTrans" cxnId="{25C31735-C239-4E1B-8A5D-C23BB3E98BBB}">
      <dgm:prSet/>
      <dgm:spPr/>
      <dgm:t>
        <a:bodyPr/>
        <a:lstStyle/>
        <a:p>
          <a:endParaRPr lang="en-US"/>
        </a:p>
      </dgm:t>
    </dgm:pt>
    <dgm:pt modelId="{F3D36DAC-CD2D-43D5-8D25-7F9261C1C6C6}">
      <dgm:prSet custT="1"/>
      <dgm:spPr/>
      <dgm:t>
        <a:bodyPr/>
        <a:lstStyle/>
        <a:p>
          <a:pPr>
            <a:lnSpc>
              <a:spcPct val="150000"/>
            </a:lnSpc>
            <a:buFont typeface="Wingdings" panose="05000000000000000000" pitchFamily="2" charset="2"/>
            <a:buChar char="ü"/>
          </a:pPr>
          <a:r>
            <a:rPr lang="en-US" sz="1100" dirty="0"/>
            <a:t>Demo</a:t>
          </a:r>
        </a:p>
      </dgm:t>
    </dgm:pt>
    <dgm:pt modelId="{6F4F3EFD-CCA2-46E6-A135-BEDCA96FCD22}" type="parTrans" cxnId="{339DBE2C-4D88-4B69-A91C-93370B480F24}">
      <dgm:prSet/>
      <dgm:spPr/>
      <dgm:t>
        <a:bodyPr/>
        <a:lstStyle/>
        <a:p>
          <a:endParaRPr lang="en-US"/>
        </a:p>
      </dgm:t>
    </dgm:pt>
    <dgm:pt modelId="{97212A19-D715-4FBD-B065-309FAAAF623B}" type="sibTrans" cxnId="{339DBE2C-4D88-4B69-A91C-93370B480F24}">
      <dgm:prSet/>
      <dgm:spPr/>
      <dgm:t>
        <a:bodyPr/>
        <a:lstStyle/>
        <a:p>
          <a:endParaRPr lang="en-US"/>
        </a:p>
      </dgm:t>
    </dgm:pt>
    <dgm:pt modelId="{B0019F9A-2660-4818-ACC7-6C69F3ECE5BF}">
      <dgm:prSet custT="1"/>
      <dgm:spPr/>
      <dgm:t>
        <a:bodyPr/>
        <a:lstStyle/>
        <a:p>
          <a:pPr>
            <a:lnSpc>
              <a:spcPct val="150000"/>
            </a:lnSpc>
            <a:buFont typeface="Wingdings" panose="05000000000000000000" pitchFamily="2" charset="2"/>
            <a:buChar char="ü"/>
          </a:pPr>
          <a:r>
            <a:rPr lang="en-US" sz="1100" dirty="0"/>
            <a:t>Modify SharePoint list forms with Power Apps</a:t>
          </a:r>
        </a:p>
      </dgm:t>
    </dgm:pt>
    <dgm:pt modelId="{8B3D945A-7AC6-4FF1-AE4D-54F5902216E6}" type="parTrans" cxnId="{E6B47CC2-2E84-4676-AF9F-285AE485D530}">
      <dgm:prSet/>
      <dgm:spPr/>
      <dgm:t>
        <a:bodyPr/>
        <a:lstStyle/>
        <a:p>
          <a:endParaRPr lang="en-US"/>
        </a:p>
      </dgm:t>
    </dgm:pt>
    <dgm:pt modelId="{CFC0CB2D-1820-4F03-8CC3-6F2B9278933F}" type="sibTrans" cxnId="{E6B47CC2-2E84-4676-AF9F-285AE485D530}">
      <dgm:prSet/>
      <dgm:spPr/>
      <dgm:t>
        <a:bodyPr/>
        <a:lstStyle/>
        <a:p>
          <a:endParaRPr lang="en-US"/>
        </a:p>
      </dgm:t>
    </dgm:pt>
    <dgm:pt modelId="{7363846E-E3B8-44DB-A355-7C43CAF71A1A}">
      <dgm:prSet custT="1"/>
      <dgm:spPr/>
      <dgm:t>
        <a:bodyPr/>
        <a:lstStyle/>
        <a:p>
          <a:pPr>
            <a:lnSpc>
              <a:spcPct val="150000"/>
            </a:lnSpc>
            <a:buFont typeface="Wingdings" panose="05000000000000000000" pitchFamily="2" charset="2"/>
            <a:buChar char="ü"/>
          </a:pPr>
          <a:r>
            <a:rPr lang="en-US" sz="1100" dirty="0"/>
            <a:t>Build Approvals in SharePoint with Power Automate</a:t>
          </a:r>
        </a:p>
      </dgm:t>
    </dgm:pt>
    <dgm:pt modelId="{B766454A-640F-4EB4-9EC8-6CC93CF847C9}" type="parTrans" cxnId="{53D7836C-E0AD-4862-9545-D0FB0D6B14E0}">
      <dgm:prSet/>
      <dgm:spPr/>
      <dgm:t>
        <a:bodyPr/>
        <a:lstStyle/>
        <a:p>
          <a:endParaRPr lang="en-US"/>
        </a:p>
      </dgm:t>
    </dgm:pt>
    <dgm:pt modelId="{2DFADE06-8B67-426F-81AA-3F4E7A8D46E0}" type="sibTrans" cxnId="{53D7836C-E0AD-4862-9545-D0FB0D6B14E0}">
      <dgm:prSet/>
      <dgm:spPr/>
      <dgm:t>
        <a:bodyPr/>
        <a:lstStyle/>
        <a:p>
          <a:endParaRPr lang="en-US"/>
        </a:p>
      </dgm:t>
    </dgm:pt>
    <dgm:pt modelId="{6BBC1C67-0E38-47BF-A9DB-8691BA83F275}">
      <dgm:prSet custT="1"/>
      <dgm:spPr/>
      <dgm:t>
        <a:bodyPr/>
        <a:lstStyle/>
        <a:p>
          <a:pPr>
            <a:lnSpc>
              <a:spcPct val="150000"/>
            </a:lnSpc>
            <a:buFont typeface="Wingdings" panose="05000000000000000000" pitchFamily="2" charset="2"/>
            <a:buChar char="ü"/>
          </a:pPr>
          <a:r>
            <a:rPr lang="en-US" sz="1100" dirty="0"/>
            <a:t>Use case: Manage Project Lifecycle</a:t>
          </a:r>
        </a:p>
      </dgm:t>
    </dgm:pt>
    <dgm:pt modelId="{C79699C1-5FD9-4A16-A5DB-53B670E89897}" type="parTrans" cxnId="{2F844CF8-9436-4FE3-926E-672E373BC160}">
      <dgm:prSet/>
      <dgm:spPr/>
      <dgm:t>
        <a:bodyPr/>
        <a:lstStyle/>
        <a:p>
          <a:endParaRPr lang="en-US"/>
        </a:p>
      </dgm:t>
    </dgm:pt>
    <dgm:pt modelId="{687825EB-A89F-4A75-AE44-4A4CBFB9CBD0}" type="sibTrans" cxnId="{2F844CF8-9436-4FE3-926E-672E373BC160}">
      <dgm:prSet/>
      <dgm:spPr/>
      <dgm:t>
        <a:bodyPr/>
        <a:lstStyle/>
        <a:p>
          <a:endParaRPr lang="en-US"/>
        </a:p>
      </dgm:t>
    </dgm:pt>
    <dgm:pt modelId="{C26D44FF-66B2-486F-B999-3A7760B843C8}">
      <dgm:prSet custT="1"/>
      <dgm:spPr/>
      <dgm:t>
        <a:bodyPr/>
        <a:lstStyle/>
        <a:p>
          <a:pPr>
            <a:lnSpc>
              <a:spcPct val="150000"/>
            </a:lnSpc>
            <a:buFont typeface="Wingdings" panose="05000000000000000000" pitchFamily="2" charset="2"/>
            <a:buChar char="ü"/>
          </a:pPr>
          <a:r>
            <a:rPr lang="en-US" sz="1100" dirty="0"/>
            <a:t>Demo</a:t>
          </a:r>
        </a:p>
      </dgm:t>
    </dgm:pt>
    <dgm:pt modelId="{4B886FFE-2E75-4A6F-A7A5-93B2E21C7162}" type="parTrans" cxnId="{E1BA612A-DCC5-4F5F-B109-CA0170CB253C}">
      <dgm:prSet/>
      <dgm:spPr/>
      <dgm:t>
        <a:bodyPr/>
        <a:lstStyle/>
        <a:p>
          <a:endParaRPr lang="en-US"/>
        </a:p>
      </dgm:t>
    </dgm:pt>
    <dgm:pt modelId="{69FB300A-F2DD-4978-A5B8-2B60BBDACF51}" type="sibTrans" cxnId="{E1BA612A-DCC5-4F5F-B109-CA0170CB253C}">
      <dgm:prSet/>
      <dgm:spPr/>
      <dgm:t>
        <a:bodyPr/>
        <a:lstStyle/>
        <a:p>
          <a:endParaRPr lang="en-US"/>
        </a:p>
      </dgm:t>
    </dgm:pt>
    <dgm:pt modelId="{AE4ECF8B-0AF7-45BA-84B6-92754F3D869F}">
      <dgm:prSet custT="1"/>
      <dgm:spPr/>
      <dgm:t>
        <a:bodyPr/>
        <a:lstStyle/>
        <a:p>
          <a:pPr>
            <a:lnSpc>
              <a:spcPct val="150000"/>
            </a:lnSpc>
            <a:buFont typeface="Wingdings" panose="05000000000000000000" pitchFamily="2" charset="2"/>
            <a:buChar char="ü"/>
          </a:pPr>
          <a:endParaRPr lang="en-US" sz="1100" dirty="0"/>
        </a:p>
      </dgm:t>
    </dgm:pt>
    <dgm:pt modelId="{93B4C873-5E07-468E-B615-33C3E4442BD6}" type="parTrans" cxnId="{F5FAEBA6-7815-4E7D-9542-6A51678D2188}">
      <dgm:prSet/>
      <dgm:spPr/>
      <dgm:t>
        <a:bodyPr/>
        <a:lstStyle/>
        <a:p>
          <a:endParaRPr lang="en-US"/>
        </a:p>
      </dgm:t>
    </dgm:pt>
    <dgm:pt modelId="{15760C4C-7C06-4E51-8481-04C915CF3CBD}" type="sibTrans" cxnId="{F5FAEBA6-7815-4E7D-9542-6A51678D2188}">
      <dgm:prSet/>
      <dgm:spPr/>
      <dgm:t>
        <a:bodyPr/>
        <a:lstStyle/>
        <a:p>
          <a:endParaRPr lang="en-US"/>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0D6CEF04-87BD-4FA6-8FF5-82C13D6C7277}" type="presOf" srcId="{1398E940-3E9F-4501-AFF5-E9D69BDDBE6B}" destId="{6BCC47BA-0C21-4EC9-8F7B-D9BCA5C8EC21}" srcOrd="0" destOrd="3" presId="urn:microsoft.com/office/officeart/2005/8/layout/hList1"/>
    <dgm:cxn modelId="{67B61E06-C718-408A-8144-2C325A99B7CD}" type="presOf" srcId="{6A0DAC46-074E-44D5-BC93-2A28D37093F5}" destId="{FE6D297C-C9E0-4A7D-A12A-BA53DEE78AEC}" srcOrd="0" destOrd="6" presId="urn:microsoft.com/office/officeart/2005/8/layout/hList1"/>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3ED610E-D840-4A47-82CA-1963CEA02A3D}" srcId="{AC11CA59-F486-473C-AE1A-BD3E159BD48A}" destId="{DF86A6E5-580E-4F2A-B223-B458E5A97CE4}" srcOrd="4" destOrd="0" parTransId="{A3F965A0-4DFA-4DB1-BF22-9BD549EB3157}" sibTransId="{A2239809-CB4C-48EC-8779-BE5C55EB41C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B34C6719-AADC-486E-9F91-9E4DA0E9E27E}" type="presOf" srcId="{21CCFBB6-DF6B-41E6-A53B-FED0B3B87759}" destId="{6BCC47BA-0C21-4EC9-8F7B-D9BCA5C8EC21}" srcOrd="0" destOrd="2" presId="urn:microsoft.com/office/officeart/2005/8/layout/hList1"/>
    <dgm:cxn modelId="{37581F1C-5334-445E-829C-72AF65A4BDB2}" type="presOf" srcId="{AA0CC1A4-89B3-4AA2-AE39-4C1399639CA2}" destId="{6D51457A-C3C5-41AF-B616-CDB4705EBFBD}" srcOrd="0" destOrd="0" presId="urn:microsoft.com/office/officeart/2005/8/layout/hList1"/>
    <dgm:cxn modelId="{731E3521-0059-49D3-A26D-807CF0CF6081}" type="presOf" srcId="{7363846E-E3B8-44DB-A355-7C43CAF71A1A}"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8"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E1BA612A-DCC5-4F5F-B109-CA0170CB253C}" srcId="{639BF8EA-4D33-4B30-911B-6776BADCAC46}" destId="{C26D44FF-66B2-486F-B999-3A7760B843C8}" srcOrd="4" destOrd="0" parTransId="{4B886FFE-2E75-4A6F-A7A5-93B2E21C7162}" sibTransId="{69FB300A-F2DD-4978-A5B8-2B60BBDACF51}"/>
    <dgm:cxn modelId="{95F1422B-D2D2-4C16-B913-4506C14F30E2}" srcId="{5D730ECF-5E56-4BCC-9295-01AA7310EDA9}" destId="{58A2E522-E29C-4132-AC13-C3D4E644FA3C}" srcOrd="7" destOrd="0" parTransId="{E9E5FE19-EEBB-4197-8E3C-36FFB0A95F09}" sibTransId="{5D0976C6-ACD5-49EF-BDEC-DCDD2C61531D}"/>
    <dgm:cxn modelId="{339DBE2C-4D88-4B69-A91C-93370B480F24}" srcId="{DF86A6E5-580E-4F2A-B223-B458E5A97CE4}" destId="{F3D36DAC-CD2D-43D5-8D25-7F9261C1C6C6}" srcOrd="5" destOrd="0" parTransId="{6F4F3EFD-CCA2-46E6-A135-BEDCA96FCD22}" sibTransId="{97212A19-D715-4FBD-B065-309FAAAF623B}"/>
    <dgm:cxn modelId="{EBA7442D-1D1C-485C-91DE-AE6B91BFBDF6}" type="presOf" srcId="{88D93969-2262-4FB9-8705-4D141334E937}" destId="{FE6D297C-C9E0-4A7D-A12A-BA53DEE78AEC}" srcOrd="0" destOrd="3" presId="urn:microsoft.com/office/officeart/2005/8/layout/hList1"/>
    <dgm:cxn modelId="{E85E3132-EF8A-4793-AE98-63D9F856D2F9}" type="presOf" srcId="{A05F72D0-69A6-4C7B-BB38-A1A0AB843EE4}" destId="{F9540AD5-4F34-4720-A853-23023519F2F5}" srcOrd="0" destOrd="4" presId="urn:microsoft.com/office/officeart/2005/8/layout/hList1"/>
    <dgm:cxn modelId="{25C31735-C239-4E1B-8A5D-C23BB3E98BBB}" srcId="{DF86A6E5-580E-4F2A-B223-B458E5A97CE4}" destId="{415EDCB9-A9A5-48D5-9F8C-02F2FBBD3267}" srcOrd="4" destOrd="0" parTransId="{1209D010-E14D-43F0-B369-D4296722BA4B}" sibTransId="{15DB87BE-5468-403D-AE8B-2777160EABE8}"/>
    <dgm:cxn modelId="{E89DCC35-4170-4CB2-A20C-EB81473BF897}" srcId="{5D730ECF-5E56-4BCC-9295-01AA7310EDA9}" destId="{24E91F4A-3897-4A0C-950E-4537F3FBB810}" srcOrd="6" destOrd="0" parTransId="{3FA903BF-7730-470C-B9B9-D24374440B2F}" sibTransId="{B56624A6-8E5F-4771-B1C0-E2E7A2D5FEA7}"/>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6A90B764-D22E-45E6-B253-C3C2DAC632DA}" type="presOf" srcId="{F3D36DAC-CD2D-43D5-8D25-7F9261C1C6C6}" destId="{6BCC47BA-0C21-4EC9-8F7B-D9BCA5C8EC21}" srcOrd="0" destOrd="5" presId="urn:microsoft.com/office/officeart/2005/8/layout/hList1"/>
    <dgm:cxn modelId="{C377A466-AD2B-45D6-AD4A-3D0F22318176}" srcId="{3F8F7C63-6D9D-4496-99F3-13DF66B8EAD6}" destId="{3FD82739-856C-477A-A9F2-F79000C2BD73}" srcOrd="7"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53D7836C-E0AD-4862-9545-D0FB0D6B14E0}" srcId="{639BF8EA-4D33-4B30-911B-6776BADCAC46}" destId="{7363846E-E3B8-44DB-A355-7C43CAF71A1A}" srcOrd="2" destOrd="0" parTransId="{B766454A-640F-4EB4-9EC8-6CC93CF847C9}" sibTransId="{2DFADE06-8B67-426F-81AA-3F4E7A8D46E0}"/>
    <dgm:cxn modelId="{D2A29E4E-C7CD-4B3E-B22E-2EC78C57BC5E}" srcId="{DF86A6E5-580E-4F2A-B223-B458E5A97CE4}" destId="{21CCFBB6-DF6B-41E6-A53B-FED0B3B87759}" srcOrd="2" destOrd="0" parTransId="{52239B8B-3B77-4F74-BD3C-9743DFBF2CFF}" sibTransId="{1B3BE42A-A900-495C-94C9-02749FD2A394}"/>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11AF3294-D720-46F7-A210-5C86B3113581}" type="presOf" srcId="{03D3870E-6E12-4A4A-99E8-B07254945176}" destId="{F9540AD5-4F34-4720-A853-23023519F2F5}" srcOrd="0" destOrd="5" presId="urn:microsoft.com/office/officeart/2005/8/layout/hList1"/>
    <dgm:cxn modelId="{F719FE97-A214-49B6-8185-E16D5788CE8F}" type="presOf" srcId="{415EDCB9-A9A5-48D5-9F8C-02F2FBBD3267}" destId="{6BCC47BA-0C21-4EC9-8F7B-D9BCA5C8EC21}" srcOrd="0" destOrd="4"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0D9A90A4-F329-47BC-AAD6-706B72CFC805}" type="presOf" srcId="{B0019F9A-2660-4818-ACC7-6C69F3ECE5BF}" destId="{569DA3D3-C2E5-4089-A6F0-CF7A0DE5293E}" srcOrd="0" destOrd="1"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F5FAEBA6-7815-4E7D-9542-6A51678D2188}" srcId="{639BF8EA-4D33-4B30-911B-6776BADCAC46}" destId="{AE4ECF8B-0AF7-45BA-84B6-92754F3D869F}" srcOrd="5" destOrd="0" parTransId="{93B4C873-5E07-468E-B615-33C3E4442BD6}" sibTransId="{15760C4C-7C06-4E51-8481-04C915CF3CBD}"/>
    <dgm:cxn modelId="{499B0CA8-5A28-4F3A-AF92-30F09620EB6A}" type="presOf" srcId="{98E9E80D-99C6-4D95-ADA3-154C4B59F85F}" destId="{CD66AAD5-A74B-4989-8AD5-348B79FA87C7}" srcOrd="0" destOrd="4" presId="urn:microsoft.com/office/officeart/2005/8/layout/hList1"/>
    <dgm:cxn modelId="{ACCE82A9-E050-4212-8FEF-F3BB00422909}" type="presOf" srcId="{3FD82739-856C-477A-A9F2-F79000C2BD73}" destId="{F9540AD5-4F34-4720-A853-23023519F2F5}" srcOrd="0" destOrd="7" presId="urn:microsoft.com/office/officeart/2005/8/layout/hList1"/>
    <dgm:cxn modelId="{0C7502AF-817D-413F-850E-7FD5C7CBD120}" srcId="{DF86A6E5-580E-4F2A-B223-B458E5A97CE4}" destId="{1398E940-3E9F-4501-AFF5-E9D69BDDBE6B}" srcOrd="3" destOrd="0" parTransId="{03A05D45-A4EB-40BF-A1B1-6B5B9929D8F4}" sibTransId="{354BFC51-1B48-449E-86D0-74F114875F1F}"/>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C6FCFABA-C88C-4617-BB77-9A3DB35F04B9}" srcId="{DF86A6E5-580E-4F2A-B223-B458E5A97CE4}" destId="{DFD4E682-CD62-4D63-80C1-3A7ACC380075}" srcOrd="1" destOrd="0" parTransId="{D9CA6CCD-AB2F-418D-8FE8-8FA8A55652B4}" sibTransId="{4365FA18-8BD4-41EF-A769-E39597563B5A}"/>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E9FF1CBD-7A5B-4F0E-B9A3-A28D62932334}" type="presOf" srcId="{AE4ECF8B-0AF7-45BA-84B6-92754F3D869F}" destId="{569DA3D3-C2E5-4089-A6F0-CF7A0DE5293E}" srcOrd="0" destOrd="5"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E6B47CC2-2E84-4676-AF9F-285AE485D530}" srcId="{639BF8EA-4D33-4B30-911B-6776BADCAC46}" destId="{B0019F9A-2660-4818-ACC7-6C69F3ECE5BF}" srcOrd="1" destOrd="0" parTransId="{8B3D945A-7AC6-4FF1-AE4D-54F5902216E6}" sibTransId="{CFC0CB2D-1820-4F03-8CC3-6F2B9278933F}"/>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8"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9"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B329AEE8-4543-402A-AA06-29F3A101607E}" type="presOf" srcId="{DF86A6E5-580E-4F2A-B223-B458E5A97CE4}" destId="{19CDF2AB-3B0B-41CB-AD00-E99839314F1A}" srcOrd="0" destOrd="0"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6" presId="urn:microsoft.com/office/officeart/2005/8/layout/hList1"/>
    <dgm:cxn modelId="{701AECED-5325-4295-A693-8267EF53B223}" type="presOf" srcId="{3E642F35-97D9-4849-9004-96A0F376220D}" destId="{CD66AAD5-A74B-4989-8AD5-348B79FA87C7}" srcOrd="0" destOrd="2" presId="urn:microsoft.com/office/officeart/2005/8/layout/hList1"/>
    <dgm:cxn modelId="{E4C164EE-61FF-4E73-B0A7-74B347D09C0C}" type="presOf" srcId="{6BBC1C67-0E38-47BF-A9DB-8691BA83F275}" destId="{569DA3D3-C2E5-4089-A6F0-CF7A0DE5293E}" srcOrd="0" destOrd="3" presId="urn:microsoft.com/office/officeart/2005/8/layout/hList1"/>
    <dgm:cxn modelId="{235AF3F2-4DC6-4ACE-9EC0-844AD822351F}" type="presOf" srcId="{8A005F68-872E-4565-97CF-5F934A8F7106}" destId="{569DA3D3-C2E5-4089-A6F0-CF7A0DE5293E}" srcOrd="0" destOrd="0" presId="urn:microsoft.com/office/officeart/2005/8/layout/hList1"/>
    <dgm:cxn modelId="{2F844CF8-9436-4FE3-926E-672E373BC160}" srcId="{639BF8EA-4D33-4B30-911B-6776BADCAC46}" destId="{6BBC1C67-0E38-47BF-A9DB-8691BA83F275}" srcOrd="3" destOrd="0" parTransId="{C79699C1-5FD9-4A16-A5DB-53B670E89897}" sibTransId="{687825EB-A89F-4A75-AE44-4A4CBFB9CBD0}"/>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50DEE6FC-A3C4-4A17-9D08-50204F95BB7A}" type="presOf" srcId="{C26D44FF-66B2-486F-B999-3A7760B843C8}" destId="{569DA3D3-C2E5-4089-A6F0-CF7A0DE5293E}" srcOrd="0" destOrd="4" presId="urn:microsoft.com/office/officeart/2005/8/layout/hList1"/>
    <dgm:cxn modelId="{7BAF2CFD-1919-4540-87BA-E3BD91F1FDBD}" srcId="{3F8F7C63-6D9D-4496-99F3-13DF66B8EAD6}" destId="{3009EBD5-8533-475D-BE3F-7DA7EB0BDAF2}" srcOrd="9" destOrd="0" parTransId="{078260EC-E067-48F8-94B9-B068CF335D61}" sibTransId="{DF7B415B-F4FE-4132-B4D6-C3D469631BF7}"/>
    <dgm:cxn modelId="{3AA1E7FF-8551-4962-9452-8B0CC5E90451}" type="presOf" srcId="{DFD4E682-CD62-4D63-80C1-3A7ACC380075}" destId="{6BCC47BA-0C21-4EC9-8F7B-D9BCA5C8EC21}"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I</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Part I</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Part II</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rgbClr val="7030A0"/>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 Part I</a:t>
          </a:r>
        </a:p>
        <a:p>
          <a:pPr marL="0" lvl="0" indent="0" algn="ctr" defTabSz="488950">
            <a:lnSpc>
              <a:spcPct val="90000"/>
            </a:lnSpc>
            <a:spcBef>
              <a:spcPct val="0"/>
            </a:spcBef>
            <a:spcAft>
              <a:spcPct val="35000"/>
            </a:spcAft>
            <a:buNone/>
          </a:pPr>
          <a:r>
            <a:rPr lang="en-US" sz="1100" kern="1200" dirty="0"/>
            <a:t>Power Packed Day with Power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333989"/>
          <a:ext cx="2016677" cy="806670"/>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 – Part II</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333989"/>
        <a:ext cx="2016677" cy="806670"/>
      </dsp:txXfrm>
    </dsp:sp>
    <dsp:sp modelId="{F9540AD5-4F34-4720-A853-23023519F2F5}">
      <dsp:nvSpPr>
        <dsp:cNvPr id="0" name=""/>
        <dsp:cNvSpPr/>
      </dsp:nvSpPr>
      <dsp:spPr>
        <a:xfrm>
          <a:off x="5260" y="1140660"/>
          <a:ext cx="2016677" cy="3211649"/>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1140660"/>
        <a:ext cx="2016677" cy="3211649"/>
      </dsp:txXfrm>
    </dsp:sp>
    <dsp:sp modelId="{A15940E0-E524-4386-893B-E5C857ACD0DE}">
      <dsp:nvSpPr>
        <dsp:cNvPr id="0" name=""/>
        <dsp:cNvSpPr/>
      </dsp:nvSpPr>
      <dsp:spPr>
        <a:xfrm>
          <a:off x="2304273" y="33398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 Part I</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333989"/>
        <a:ext cx="2016677" cy="806670"/>
      </dsp:txXfrm>
    </dsp:sp>
    <dsp:sp modelId="{CD66AAD5-A74B-4989-8AD5-348B79FA87C7}">
      <dsp:nvSpPr>
        <dsp:cNvPr id="0" name=""/>
        <dsp:cNvSpPr/>
      </dsp:nvSpPr>
      <dsp:spPr>
        <a:xfrm>
          <a:off x="2304273" y="1140660"/>
          <a:ext cx="2016677" cy="3211649"/>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1140660"/>
        <a:ext cx="2016677" cy="3211649"/>
      </dsp:txXfrm>
    </dsp:sp>
    <dsp:sp modelId="{6D51457A-C3C5-41AF-B616-CDB4705EBFBD}">
      <dsp:nvSpPr>
        <dsp:cNvPr id="0" name=""/>
        <dsp:cNvSpPr/>
      </dsp:nvSpPr>
      <dsp:spPr>
        <a:xfrm>
          <a:off x="4603285" y="33398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 Part II</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333989"/>
        <a:ext cx="2016677" cy="806670"/>
      </dsp:txXfrm>
    </dsp:sp>
    <dsp:sp modelId="{FE6D297C-C9E0-4A7D-A12A-BA53DEE78AEC}">
      <dsp:nvSpPr>
        <dsp:cNvPr id="0" name=""/>
        <dsp:cNvSpPr/>
      </dsp:nvSpPr>
      <dsp:spPr>
        <a:xfrm>
          <a:off x="4603285" y="1140660"/>
          <a:ext cx="2016677" cy="3211649"/>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1140660"/>
        <a:ext cx="2016677" cy="3211649"/>
      </dsp:txXfrm>
    </dsp:sp>
    <dsp:sp modelId="{79AA2380-6C09-4C3E-A320-87D02EF11B92}">
      <dsp:nvSpPr>
        <dsp:cNvPr id="0" name=""/>
        <dsp:cNvSpPr/>
      </dsp:nvSpPr>
      <dsp:spPr>
        <a:xfrm>
          <a:off x="6902297" y="33398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 – Part I</a:t>
          </a:r>
        </a:p>
        <a:p>
          <a:pPr marL="0" lvl="0" indent="0" algn="ctr" defTabSz="488950">
            <a:lnSpc>
              <a:spcPct val="90000"/>
            </a:lnSpc>
            <a:spcBef>
              <a:spcPct val="0"/>
            </a:spcBef>
            <a:spcAft>
              <a:spcPct val="35000"/>
            </a:spcAft>
            <a:buNone/>
          </a:pPr>
          <a:r>
            <a:rPr lang="en-US" sz="1100" kern="1200" dirty="0"/>
            <a:t>Power Platform integration with SharePoint</a:t>
          </a:r>
          <a:endParaRPr lang="en-AU" sz="1100" kern="1200" dirty="0"/>
        </a:p>
      </dsp:txBody>
      <dsp:txXfrm>
        <a:off x="6902297" y="333989"/>
        <a:ext cx="2016677" cy="806670"/>
      </dsp:txXfrm>
    </dsp:sp>
    <dsp:sp modelId="{569DA3D3-C2E5-4089-A6F0-CF7A0DE5293E}">
      <dsp:nvSpPr>
        <dsp:cNvPr id="0" name=""/>
        <dsp:cNvSpPr/>
      </dsp:nvSpPr>
      <dsp:spPr>
        <a:xfrm>
          <a:off x="6902297" y="1140660"/>
          <a:ext cx="2016677" cy="3211649"/>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Modify SharePoint list forms with Power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d Approvals in SharePoint with Power Automat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e case: Manage Project Lifecycl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endParaRPr lang="en-US" sz="1100" kern="1200" dirty="0"/>
        </a:p>
        <a:p>
          <a:pPr marL="57150" lvl="1" indent="-57150" algn="l" defTabSz="488950">
            <a:lnSpc>
              <a:spcPct val="90000"/>
            </a:lnSpc>
            <a:spcBef>
              <a:spcPct val="0"/>
            </a:spcBef>
            <a:spcAft>
              <a:spcPct val="15000"/>
            </a:spcAft>
            <a:buChar char="•"/>
          </a:pPr>
          <a:endParaRPr lang="en-GB" sz="1100" kern="1200" dirty="0"/>
        </a:p>
      </dsp:txBody>
      <dsp:txXfrm>
        <a:off x="6902297" y="1140660"/>
        <a:ext cx="2016677" cy="3211649"/>
      </dsp:txXfrm>
    </dsp:sp>
    <dsp:sp modelId="{19CDF2AB-3B0B-41CB-AD00-E99839314F1A}">
      <dsp:nvSpPr>
        <dsp:cNvPr id="0" name=""/>
        <dsp:cNvSpPr/>
      </dsp:nvSpPr>
      <dsp:spPr>
        <a:xfrm>
          <a:off x="9201309" y="33398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 – Part II</a:t>
          </a:r>
        </a:p>
        <a:p>
          <a:pPr marL="0" lvl="0" indent="0" algn="ctr" defTabSz="488950">
            <a:lnSpc>
              <a:spcPct val="90000"/>
            </a:lnSpc>
            <a:spcBef>
              <a:spcPct val="0"/>
            </a:spcBef>
            <a:spcAft>
              <a:spcPct val="35000"/>
            </a:spcAft>
            <a:buNone/>
          </a:pPr>
          <a:r>
            <a:rPr lang="en-US" sz="1100" kern="1200" dirty="0"/>
            <a:t>Power Platform integration with MS Teams</a:t>
          </a:r>
          <a:endParaRPr lang="en-AU" sz="1100" kern="1200" dirty="0"/>
        </a:p>
      </dsp:txBody>
      <dsp:txXfrm>
        <a:off x="9201309" y="333989"/>
        <a:ext cx="2016677" cy="806670"/>
      </dsp:txXfrm>
    </dsp:sp>
    <dsp:sp modelId="{6BCC47BA-0C21-4EC9-8F7B-D9BCA5C8EC21}">
      <dsp:nvSpPr>
        <dsp:cNvPr id="0" name=""/>
        <dsp:cNvSpPr/>
      </dsp:nvSpPr>
      <dsp:spPr>
        <a:xfrm>
          <a:off x="9201309" y="1140660"/>
          <a:ext cx="2016677" cy="3211649"/>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Introducing </a:t>
          </a:r>
          <a:r>
            <a:rPr lang="en-US" sz="1100" kern="1200" dirty="0" err="1"/>
            <a:t>Dataverse</a:t>
          </a:r>
          <a:r>
            <a:rPr lang="en-US" sz="1100" kern="1200" dirty="0"/>
            <a:t> for Teams</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Make Power Apps a MS Teams App</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Integrate Power Automate with MS Team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Integrate Power Virtual Agents with MS Team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e case: Leave Management Application</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emo</a:t>
          </a:r>
        </a:p>
      </dsp:txBody>
      <dsp:txXfrm>
        <a:off x="9201309" y="1140660"/>
        <a:ext cx="2016677" cy="32116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22/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2021 11:20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2/2021 11: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2/2021 11: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7/22/2021</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7/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7/2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7/2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7/22/2021</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22/2021</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7/22/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22/07/2021</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image" Target="../media/image6.emf"/><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theme" Target="../theme/theme8.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image" Target="../media/image59.png"/><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theme" Target="../theme/theme9.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22/07/2021</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0.svg"/><Relationship Id="rId3" Type="http://schemas.microsoft.com/office/2018/10/relationships/comments" Target="../comments/modernComment_7BBF5832_72B077DC.xml"/><Relationship Id="rId7"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BBF555C_1D4579CB.xml"/><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6" Type="http://schemas.openxmlformats.org/officeDocument/2006/relationships/image" Target="../media/image63.emf"/><Relationship Id="rId5" Type="http://schemas.openxmlformats.org/officeDocument/2006/relationships/image" Target="../media/image62.png"/><Relationship Id="rId4"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1.xml"/></Relationships>
</file>

<file path=ppt/slides/_rels/slide8.xml.rels><?xml version="1.0" encoding="UTF-8" standalone="yes"?>
<Relationships xmlns="http://schemas.openxmlformats.org/package/2006/relationships"><Relationship Id="rId8" Type="http://schemas.microsoft.com/office/2007/relationships/diagramDrawing" Target="../diagrams/drawing3.xml"/><Relationship Id="rId3" Type="http://schemas.microsoft.com/office/2018/10/relationships/comments" Target="../comments/modernComment_7BBF582C_7916BD30.xml"/><Relationship Id="rId7" Type="http://schemas.openxmlformats.org/officeDocument/2006/relationships/diagramColors" Target="../diagrams/colors3.xml"/><Relationship Id="rId2" Type="http://schemas.openxmlformats.org/officeDocument/2006/relationships/notesSlide" Target="../notesSlides/notesSlide8.xml"/><Relationship Id="rId1" Type="http://schemas.openxmlformats.org/officeDocument/2006/relationships/slideLayout" Target="../slideLayouts/slideLayout22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microsoft.com/office/2018/10/relationships/comments" Target="../comments/modernComment_7BBF56CE_FAE02A9C.xml"/><Relationship Id="rId2" Type="http://schemas.openxmlformats.org/officeDocument/2006/relationships/notesSlide" Target="../notesSlides/notesSlide9.xml"/><Relationship Id="rId1" Type="http://schemas.openxmlformats.org/officeDocument/2006/relationships/slideLayout" Target="../slideLayouts/slideLayout22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4"/>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8="http://schemas.microsoft.com/office/powerpoint/2018/8/main">
      <p:transition spd="med">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2044041675"/>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668196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EEB182BD-D835-4202-A18E-40CACBBA46BE}"/>
              </a:ext>
            </a:extLst>
          </p:cNvPr>
          <p:cNvGraphicFramePr>
            <a:graphicFrameLocks/>
          </p:cNvGraphicFramePr>
          <p:nvPr>
            <p:extLst>
              <p:ext uri="{D42A27DB-BD31-4B8C-83A1-F6EECF244321}">
                <p14:modId xmlns:p14="http://schemas.microsoft.com/office/powerpoint/2010/main" val="309894274"/>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3: Power Packed Day with Power Virtual Agents – Part I</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a:p>
            <a:pPr marL="800100" lvl="1"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and deploy a Power Virtual Agents bot</a:t>
            </a:r>
            <a:endParaRPr lang="en-IN" sz="2000" dirty="0">
              <a:solidFill>
                <a:srgbClr val="2F2F2F"/>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dgm="http://schemas.openxmlformats.org/drawingml/2006/diagram" xmlns:a14="http://schemas.microsoft.com/office/drawing/2010/main" xmlns:p188="http://schemas.microsoft.com/office/powerpoint/2018/8/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85</TotalTime>
  <Words>1497</Words>
  <Application>Microsoft Office PowerPoint</Application>
  <PresentationFormat>Widescreen</PresentationFormat>
  <Paragraphs>278</Paragraphs>
  <Slides>22</Slides>
  <Notes>20</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2</vt:i4>
      </vt:variant>
    </vt:vector>
  </HeadingPairs>
  <TitlesOfParts>
    <vt:vector size="42"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Point Presentation</vt:lpstr>
      <vt:lpstr>Demo: Easily build powerful conversations</vt:lpstr>
      <vt:lpstr>Create personalized customer experiences</vt:lpstr>
      <vt:lpstr>Transfer to a human ag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Nanddeep Nachan</cp:lastModifiedBy>
  <cp:revision>110</cp:revision>
  <dcterms:created xsi:type="dcterms:W3CDTF">2020-02-12T12:44:10Z</dcterms:created>
  <dcterms:modified xsi:type="dcterms:W3CDTF">2021-07-22T06:35:36Z</dcterms:modified>
</cp:coreProperties>
</file>